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bookmarkIdSeed="2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35" r:id="rId2"/>
    <p:sldId id="344" r:id="rId3"/>
    <p:sldId id="338" r:id="rId4"/>
    <p:sldId id="337" r:id="rId5"/>
    <p:sldId id="339" r:id="rId6"/>
    <p:sldId id="340" r:id="rId7"/>
    <p:sldId id="341" r:id="rId8"/>
    <p:sldId id="342" r:id="rId9"/>
    <p:sldId id="343" r:id="rId10"/>
  </p:sldIdLst>
  <p:sldSz cx="12192000" cy="6858000"/>
  <p:notesSz cx="9942513" cy="6761163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Montserrat SemiBold" panose="020B0604020202020204" charset="-52"/>
      <p:bold r:id="rId17"/>
      <p:boldItalic r:id="rId18"/>
    </p:embeddedFont>
    <p:embeddedFont>
      <p:font typeface="Montserrat" panose="020B0604020202020204" charset="-52"/>
      <p:regular r:id="rId19"/>
      <p:bold r:id="rId20"/>
      <p:italic r:id="rId21"/>
      <p:boldItalic r:id="rId22"/>
    </p:embeddedFont>
    <p:embeddedFont>
      <p:font typeface="Calibri Light" panose="020F0302020204030204" pitchFamily="34" charset="0"/>
      <p:regular r:id="rId23"/>
      <p:italic r:id="rId24"/>
    </p:embeddedFont>
    <p:embeddedFont>
      <p:font typeface="Aharoni" panose="020B0604020202020204" charset="-79"/>
      <p:bold r:id="rId25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30" userDrawn="1">
          <p15:clr>
            <a:srgbClr val="A4A3A4"/>
          </p15:clr>
        </p15:guide>
        <p15:guide id="2" pos="31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3301"/>
    <a:srgbClr val="393186"/>
    <a:srgbClr val="E6E6E6"/>
    <a:srgbClr val="ED7A2C"/>
    <a:srgbClr val="FFCCCC"/>
    <a:srgbClr val="FF9999"/>
    <a:srgbClr val="5595B9"/>
    <a:srgbClr val="59C8F4"/>
    <a:srgbClr val="70AD46"/>
    <a:srgbClr val="009B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53" autoAdjust="0"/>
    <p:restoredTop sz="83455" autoAdjust="0"/>
  </p:normalViewPr>
  <p:slideViewPr>
    <p:cSldViewPr snapToGrid="0">
      <p:cViewPr varScale="1">
        <p:scale>
          <a:sx n="93" d="100"/>
          <a:sy n="93" d="100"/>
        </p:scale>
        <p:origin x="1074" y="90"/>
      </p:cViewPr>
      <p:guideLst>
        <p:guide orient="horz" pos="116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2766" y="96"/>
      </p:cViewPr>
      <p:guideLst>
        <p:guide orient="horz" pos="2130"/>
        <p:guide pos="3132"/>
      </p:guideLst>
    </p:cSldViewPr>
  </p:notesViewPr>
  <p:gridSpacing cx="169201" cy="1692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font" Target="fonts/font13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2.fntdata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8423" cy="339233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1790" y="1"/>
            <a:ext cx="4308423" cy="339233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16AC7EFA-2E4E-4E39-AC6A-40DBD51938D1}" type="datetimeFigureOut">
              <a:rPr lang="ru-RU" smtClean="0"/>
              <a:pPr/>
              <a:t>18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21932"/>
            <a:ext cx="4308423" cy="339231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1790" y="6421932"/>
            <a:ext cx="4308423" cy="339231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4F6BCC70-DE6E-4B2D-B71A-FFD5066D4C4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0714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8423" cy="339233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31790" y="1"/>
            <a:ext cx="4308423" cy="339233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7E536E72-A607-4357-AE2D-6D3D1B506724}" type="datetimeFigureOut">
              <a:rPr lang="ru-RU" smtClean="0"/>
              <a:pPr/>
              <a:t>18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41638" y="844550"/>
            <a:ext cx="4059237" cy="2282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3" tIns="47781" rIns="95563" bIns="4778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4252" y="3253811"/>
            <a:ext cx="7954010" cy="2662207"/>
          </a:xfrm>
          <a:prstGeom prst="rect">
            <a:avLst/>
          </a:prstGeom>
        </p:spPr>
        <p:txBody>
          <a:bodyPr vert="horz" lIns="95563" tIns="47781" rIns="95563" bIns="4778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21932"/>
            <a:ext cx="4308423" cy="339231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31790" y="6421932"/>
            <a:ext cx="4308423" cy="339231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83CC74D9-B5B2-4E54-8B4E-D985FA9790E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113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770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920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2041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57808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655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763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1609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27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C74D9-B5B2-4E54-8B4E-D985FA9790EA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9784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149086" y="0"/>
            <a:ext cx="4975364" cy="6858000"/>
          </a:xfrm>
          <a:prstGeom prst="rect">
            <a:avLst/>
          </a:prstGeom>
          <a:blipFill dpi="0" rotWithShape="1">
            <a:blip r:embed="rId2" cstate="print">
              <a:alphaModFix amt="95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2252" y="2866978"/>
            <a:ext cx="3636018" cy="9298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2252" y="3974163"/>
            <a:ext cx="3636018" cy="343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D6E2AFFC-8C6A-48E7-BB21-1A3A6FFAB2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483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2" pos="234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pos="7446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pos="1436" userDrawn="1">
          <p15:clr>
            <a:srgbClr val="FBAE40"/>
          </p15:clr>
        </p15:guide>
        <p15:guide id="7" pos="2048" userDrawn="1">
          <p15:clr>
            <a:srgbClr val="FBAE40"/>
          </p15:clr>
        </p15:guide>
        <p15:guide id="8" pos="2638" userDrawn="1">
          <p15:clr>
            <a:srgbClr val="FBAE40"/>
          </p15:clr>
        </p15:guide>
        <p15:guide id="9" pos="3228" userDrawn="1">
          <p15:clr>
            <a:srgbClr val="FBAE40"/>
          </p15:clr>
        </p15:guide>
        <p15:guide id="10" pos="3840">
          <p15:clr>
            <a:srgbClr val="FBAE40"/>
          </p15:clr>
        </p15:guide>
        <p15:guide id="11" pos="6834" userDrawn="1">
          <p15:clr>
            <a:srgbClr val="FBAE40"/>
          </p15:clr>
        </p15:guide>
        <p15:guide id="12" pos="6244" userDrawn="1">
          <p15:clr>
            <a:srgbClr val="FBAE40"/>
          </p15:clr>
        </p15:guide>
        <p15:guide id="13" pos="5632" userDrawn="1">
          <p15:clr>
            <a:srgbClr val="FBAE40"/>
          </p15:clr>
        </p15:guide>
        <p15:guide id="14" pos="5042" userDrawn="1">
          <p15:clr>
            <a:srgbClr val="FBAE40"/>
          </p15:clr>
        </p15:guide>
        <p15:guide id="15" pos="443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5124450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7032625" y="1186142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7879" y="2713239"/>
            <a:ext cx="3929946" cy="5307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7038657" y="5270653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3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32625" y="3344854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2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7879" y="3354743"/>
            <a:ext cx="3929947" cy="835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5677693" y="922584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15"/>
          <p:cNvSpPr>
            <a:spLocks noGrp="1"/>
          </p:cNvSpPr>
          <p:nvPr>
            <p:ph type="pic" sz="quarter" idx="26" hasCustomPrompt="1"/>
          </p:nvPr>
        </p:nvSpPr>
        <p:spPr>
          <a:xfrm>
            <a:off x="5677693" y="3085870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27" hasCustomPrompt="1"/>
          </p:nvPr>
        </p:nvSpPr>
        <p:spPr>
          <a:xfrm>
            <a:off x="5677692" y="5011669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F4939899-CAB8-49C1-A1F3-682268C469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7067550" y="1"/>
            <a:ext cx="5124450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1726407" y="2115866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7305660" y="2843870"/>
            <a:ext cx="4514864" cy="5370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1732439" y="5391423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3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1726407" y="3751357"/>
            <a:ext cx="4787900" cy="317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Пункт 2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7305660" y="3481765"/>
            <a:ext cx="4514865" cy="8456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25" hasCustomPrompt="1"/>
          </p:nvPr>
        </p:nvSpPr>
        <p:spPr>
          <a:xfrm>
            <a:off x="371475" y="1852308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7" name="Рисунок 15"/>
          <p:cNvSpPr>
            <a:spLocks noGrp="1"/>
          </p:cNvSpPr>
          <p:nvPr>
            <p:ph type="pic" sz="quarter" idx="26" hasCustomPrompt="1"/>
          </p:nvPr>
        </p:nvSpPr>
        <p:spPr>
          <a:xfrm>
            <a:off x="371475" y="3492373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8" name="Рисунок 15"/>
          <p:cNvSpPr>
            <a:spLocks noGrp="1"/>
          </p:cNvSpPr>
          <p:nvPr>
            <p:ph type="pic" sz="quarter" idx="27" hasCustomPrompt="1"/>
          </p:nvPr>
        </p:nvSpPr>
        <p:spPr>
          <a:xfrm>
            <a:off x="371474" y="5132439"/>
            <a:ext cx="836613" cy="8350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Икон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B16E70F5-260A-4396-97C1-E570A5CC7C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8" y="368301"/>
            <a:ext cx="2406890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7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3"/>
          <p:cNvSpPr>
            <a:spLocks noGrp="1"/>
          </p:cNvSpPr>
          <p:nvPr>
            <p:ph type="pic" sz="quarter" idx="13" hasCustomPrompt="1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ru-RU" dirty="0"/>
              <a:t>Кликните для добавления изображения</a:t>
            </a: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5394394" y="1601884"/>
            <a:ext cx="1409700" cy="1409698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br"/>
          </a:blip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394394" y="4683127"/>
            <a:ext cx="1409700" cy="1409698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r"/>
          </a:blip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5394394" y="3142505"/>
            <a:ext cx="1409700" cy="1409698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r"/>
          </a:blip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21" hasCustomPrompt="1"/>
          </p:nvPr>
        </p:nvSpPr>
        <p:spPr>
          <a:xfrm>
            <a:off x="267819" y="5337810"/>
            <a:ext cx="4429124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267819" y="4964756"/>
            <a:ext cx="442912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9" name="Текст 13"/>
          <p:cNvSpPr>
            <a:spLocks noGrp="1"/>
          </p:cNvSpPr>
          <p:nvPr>
            <p:ph type="body" sz="quarter" idx="23" hasCustomPrompt="1"/>
          </p:nvPr>
        </p:nvSpPr>
        <p:spPr>
          <a:xfrm>
            <a:off x="267818" y="3779849"/>
            <a:ext cx="4429124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0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267818" y="3406795"/>
            <a:ext cx="442912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25" hasCustomPrompt="1"/>
          </p:nvPr>
        </p:nvSpPr>
        <p:spPr>
          <a:xfrm>
            <a:off x="267819" y="2255327"/>
            <a:ext cx="4429124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26" hasCustomPrompt="1"/>
          </p:nvPr>
        </p:nvSpPr>
        <p:spPr>
          <a:xfrm>
            <a:off x="267819" y="1882273"/>
            <a:ext cx="442912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5394394" y="1974787"/>
            <a:ext cx="1409700" cy="663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7" hasCustomPrompt="1"/>
          </p:nvPr>
        </p:nvSpPr>
        <p:spPr>
          <a:xfrm>
            <a:off x="5394394" y="3515408"/>
            <a:ext cx="1409700" cy="663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28" hasCustomPrompt="1"/>
          </p:nvPr>
        </p:nvSpPr>
        <p:spPr>
          <a:xfrm>
            <a:off x="5394394" y="5056030"/>
            <a:ext cx="1409700" cy="663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9559333F-C8E7-404F-83DA-D9FDDC1D29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8" y="368301"/>
            <a:ext cx="2406890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7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1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371475" y="2067414"/>
            <a:ext cx="3146977" cy="442228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610800" y="4568352"/>
            <a:ext cx="2640399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7" hasCustomPrompt="1"/>
          </p:nvPr>
        </p:nvSpPr>
        <p:spPr>
          <a:xfrm>
            <a:off x="610800" y="4939827"/>
            <a:ext cx="2640399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8" hasCustomPrompt="1"/>
          </p:nvPr>
        </p:nvSpPr>
        <p:spPr>
          <a:xfrm>
            <a:off x="371478" y="2067414"/>
            <a:ext cx="3146974" cy="2048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ru-RU" dirty="0"/>
              <a:t>Кликните чтобы вставить изображение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8673548" y="2067414"/>
            <a:ext cx="3146977" cy="442228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8912873" y="4568352"/>
            <a:ext cx="2640399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9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8912873" y="4939827"/>
            <a:ext cx="2640399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20" name="Рисунок 3"/>
          <p:cNvSpPr>
            <a:spLocks noGrp="1"/>
          </p:cNvSpPr>
          <p:nvPr>
            <p:ph type="pic" sz="quarter" idx="21" hasCustomPrompt="1"/>
          </p:nvPr>
        </p:nvSpPr>
        <p:spPr>
          <a:xfrm>
            <a:off x="8673551" y="2067414"/>
            <a:ext cx="3146974" cy="2048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ru-RU" dirty="0"/>
              <a:t>Кликните чтобы вставить изображение</a:t>
            </a: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4522508" y="2067414"/>
            <a:ext cx="3146977" cy="442228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4761833" y="4568352"/>
            <a:ext cx="2640399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3" name="Текст 13"/>
          <p:cNvSpPr>
            <a:spLocks noGrp="1"/>
          </p:cNvSpPr>
          <p:nvPr>
            <p:ph type="body" sz="quarter" idx="23" hasCustomPrompt="1"/>
          </p:nvPr>
        </p:nvSpPr>
        <p:spPr>
          <a:xfrm>
            <a:off x="4761833" y="4939827"/>
            <a:ext cx="2640399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24" name="Рисунок 3"/>
          <p:cNvSpPr>
            <a:spLocks noGrp="1"/>
          </p:cNvSpPr>
          <p:nvPr>
            <p:ph type="pic" sz="quarter" idx="24" hasCustomPrompt="1"/>
          </p:nvPr>
        </p:nvSpPr>
        <p:spPr>
          <a:xfrm>
            <a:off x="4522511" y="2067414"/>
            <a:ext cx="3146974" cy="2048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ru-RU" dirty="0"/>
              <a:t>Кликните чтобы вставить изображени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D7FCA9C4-6923-40B8-AC62-063201209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17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986022D5-6365-4650-B56B-CCA3A88A9D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8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0" orient="horz" pos="482" userDrawn="1">
          <p15:clr>
            <a:srgbClr val="FBAE40"/>
          </p15:clr>
        </p15:guide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Рисунок 2"/>
          <p:cNvSpPr>
            <a:spLocks noGrp="1"/>
          </p:cNvSpPr>
          <p:nvPr>
            <p:ph type="pic" sz="quarter" idx="12" hasCustomPrompt="1"/>
          </p:nvPr>
        </p:nvSpPr>
        <p:spPr>
          <a:xfrm>
            <a:off x="371475" y="3041374"/>
            <a:ext cx="5305286" cy="3448326"/>
          </a:xfrm>
          <a:prstGeom prst="rect">
            <a:avLst/>
          </a:prstGeom>
          <a:solidFill>
            <a:schemeClr val="bg1"/>
          </a:solid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6" name="Рисунок 2"/>
          <p:cNvSpPr>
            <a:spLocks noGrp="1"/>
          </p:cNvSpPr>
          <p:nvPr>
            <p:ph type="pic" sz="quarter" idx="13" hasCustomPrompt="1"/>
          </p:nvPr>
        </p:nvSpPr>
        <p:spPr>
          <a:xfrm>
            <a:off x="6515239" y="3041374"/>
            <a:ext cx="5305286" cy="3448326"/>
          </a:xfrm>
          <a:prstGeom prst="rect">
            <a:avLst/>
          </a:prstGeom>
          <a:solidFill>
            <a:schemeClr val="bg1"/>
          </a:solid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31" hasCustomPrompt="1"/>
          </p:nvPr>
        </p:nvSpPr>
        <p:spPr>
          <a:xfrm>
            <a:off x="287889" y="2075405"/>
            <a:ext cx="11532636" cy="2742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4946545B-CCF3-4A93-BC73-43CABFA3E3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40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Овал 4"/>
          <p:cNvSpPr/>
          <p:nvPr userDrawn="1"/>
        </p:nvSpPr>
        <p:spPr>
          <a:xfrm>
            <a:off x="4487924" y="2479476"/>
            <a:ext cx="3216147" cy="3216147"/>
          </a:xfrm>
          <a:prstGeom prst="ellipse">
            <a:avLst/>
          </a:prstGeom>
          <a:noFill/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 userDrawn="1"/>
        </p:nvSpPr>
        <p:spPr>
          <a:xfrm>
            <a:off x="4811660" y="2803212"/>
            <a:ext cx="2568677" cy="256867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4891317" y="2882869"/>
            <a:ext cx="2409365" cy="2409365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28" hasCustomPrompt="1"/>
          </p:nvPr>
        </p:nvSpPr>
        <p:spPr>
          <a:xfrm>
            <a:off x="5232400" y="3913390"/>
            <a:ext cx="1763713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9" name="Овал 8"/>
          <p:cNvSpPr/>
          <p:nvPr userDrawn="1"/>
        </p:nvSpPr>
        <p:spPr>
          <a:xfrm>
            <a:off x="4702202" y="2884450"/>
            <a:ext cx="322729" cy="322729"/>
          </a:xfrm>
          <a:prstGeom prst="ellipse">
            <a:avLst/>
          </a:prstGeom>
          <a:solidFill>
            <a:srgbClr val="3B338A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B338A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01195" y="2861148"/>
            <a:ext cx="335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 SemiBold" panose="00000700000000000000" pitchFamily="50" charset="-52"/>
              </a:rPr>
              <a:t>1</a:t>
            </a:r>
          </a:p>
        </p:txBody>
      </p:sp>
      <p:sp>
        <p:nvSpPr>
          <p:cNvPr id="11" name="Овал 10"/>
          <p:cNvSpPr/>
          <p:nvPr userDrawn="1"/>
        </p:nvSpPr>
        <p:spPr>
          <a:xfrm>
            <a:off x="4705394" y="4990993"/>
            <a:ext cx="322729" cy="322729"/>
          </a:xfrm>
          <a:prstGeom prst="ellipse">
            <a:avLst/>
          </a:prstGeom>
          <a:solidFill>
            <a:srgbClr val="3B338A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B338A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704387" y="4967691"/>
            <a:ext cx="335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 SemiBold" panose="00000700000000000000" pitchFamily="50" charset="-52"/>
              </a:rPr>
              <a:t>3</a:t>
            </a:r>
          </a:p>
        </p:txBody>
      </p:sp>
      <p:sp>
        <p:nvSpPr>
          <p:cNvPr id="13" name="Овал 12"/>
          <p:cNvSpPr/>
          <p:nvPr userDrawn="1"/>
        </p:nvSpPr>
        <p:spPr>
          <a:xfrm>
            <a:off x="7159754" y="2884450"/>
            <a:ext cx="322729" cy="322729"/>
          </a:xfrm>
          <a:prstGeom prst="ellipse">
            <a:avLst/>
          </a:prstGeom>
          <a:solidFill>
            <a:srgbClr val="3B338A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B338A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158747" y="2861148"/>
            <a:ext cx="335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 SemiBold" panose="00000700000000000000" pitchFamily="50" charset="-52"/>
              </a:rPr>
              <a:t>2</a:t>
            </a:r>
          </a:p>
        </p:txBody>
      </p:sp>
      <p:sp>
        <p:nvSpPr>
          <p:cNvPr id="15" name="Овал 14"/>
          <p:cNvSpPr/>
          <p:nvPr userDrawn="1"/>
        </p:nvSpPr>
        <p:spPr>
          <a:xfrm>
            <a:off x="7123659" y="4990993"/>
            <a:ext cx="322729" cy="322729"/>
          </a:xfrm>
          <a:prstGeom prst="ellipse">
            <a:avLst/>
          </a:prstGeom>
          <a:solidFill>
            <a:srgbClr val="3B338A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B338A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7122652" y="4967691"/>
            <a:ext cx="3353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Montserrat SemiBold" panose="00000700000000000000" pitchFamily="50" charset="-52"/>
              </a:rPr>
              <a:t>4</a:t>
            </a:r>
          </a:p>
        </p:txBody>
      </p:sp>
      <p:sp>
        <p:nvSpPr>
          <p:cNvPr id="18" name="Прямоугольник 17"/>
          <p:cNvSpPr/>
          <p:nvPr userDrawn="1"/>
        </p:nvSpPr>
        <p:spPr>
          <a:xfrm rot="2698150">
            <a:off x="3964244" y="2847927"/>
            <a:ext cx="370597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371475" y="2265169"/>
            <a:ext cx="3791929" cy="1530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 userDrawn="1"/>
        </p:nvSpPr>
        <p:spPr>
          <a:xfrm rot="2698150">
            <a:off x="3964244" y="2847927"/>
            <a:ext cx="370597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 userDrawn="1"/>
        </p:nvSpPr>
        <p:spPr>
          <a:xfrm rot="18901850" flipH="1">
            <a:off x="7863908" y="2847927"/>
            <a:ext cx="369896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 userDrawn="1"/>
        </p:nvSpPr>
        <p:spPr>
          <a:xfrm flipH="1">
            <a:off x="8035020" y="2265169"/>
            <a:ext cx="3785504" cy="1530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 userDrawn="1"/>
        </p:nvSpPr>
        <p:spPr>
          <a:xfrm rot="18901850" flipH="1">
            <a:off x="7863908" y="2847927"/>
            <a:ext cx="369896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 userDrawn="1"/>
        </p:nvSpPr>
        <p:spPr>
          <a:xfrm rot="2698150">
            <a:off x="3964243" y="4980899"/>
            <a:ext cx="370597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371475" y="4398141"/>
            <a:ext cx="3791928" cy="1530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 userDrawn="1"/>
        </p:nvSpPr>
        <p:spPr>
          <a:xfrm rot="2698150">
            <a:off x="3964243" y="4980899"/>
            <a:ext cx="370597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 userDrawn="1"/>
        </p:nvSpPr>
        <p:spPr>
          <a:xfrm rot="18901850" flipH="1">
            <a:off x="7863907" y="4980899"/>
            <a:ext cx="369896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 userDrawn="1"/>
        </p:nvSpPr>
        <p:spPr>
          <a:xfrm flipH="1">
            <a:off x="8035019" y="4398141"/>
            <a:ext cx="3785504" cy="15308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 userDrawn="1"/>
        </p:nvSpPr>
        <p:spPr>
          <a:xfrm rot="18901850" flipH="1">
            <a:off x="7863907" y="4980899"/>
            <a:ext cx="369896" cy="3530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Текст 1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622463" y="4908967"/>
            <a:ext cx="3379409" cy="6280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34" name="Текст 1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8185715" y="4908967"/>
            <a:ext cx="3389971" cy="6280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35" name="Текст 13"/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622463" y="2770108"/>
            <a:ext cx="3379409" cy="6280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36" name="Текст 13"/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8185715" y="2770108"/>
            <a:ext cx="3389971" cy="6280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37" name="Прямоугольник 36"/>
          <p:cNvSpPr/>
          <p:nvPr userDrawn="1"/>
        </p:nvSpPr>
        <p:spPr>
          <a:xfrm>
            <a:off x="371474" y="2261912"/>
            <a:ext cx="3791929" cy="45719"/>
          </a:xfrm>
          <a:prstGeom prst="rect">
            <a:avLst/>
          </a:prstGeom>
          <a:solidFill>
            <a:srgbClr val="3B33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 userDrawn="1"/>
        </p:nvSpPr>
        <p:spPr>
          <a:xfrm>
            <a:off x="371475" y="4399136"/>
            <a:ext cx="3791928" cy="45719"/>
          </a:xfrm>
          <a:prstGeom prst="rect">
            <a:avLst/>
          </a:prstGeom>
          <a:solidFill>
            <a:srgbClr val="3B33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 userDrawn="1"/>
        </p:nvSpPr>
        <p:spPr>
          <a:xfrm>
            <a:off x="8035020" y="4403333"/>
            <a:ext cx="3792676" cy="45719"/>
          </a:xfrm>
          <a:prstGeom prst="rect">
            <a:avLst/>
          </a:prstGeom>
          <a:solidFill>
            <a:srgbClr val="3B33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8035020" y="2261912"/>
            <a:ext cx="3792676" cy="45719"/>
          </a:xfrm>
          <a:prstGeom prst="rect">
            <a:avLst/>
          </a:prstGeom>
          <a:solidFill>
            <a:srgbClr val="3B33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120C554F-C4C9-4F10-AFB3-82B237FE30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1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Овал 4"/>
          <p:cNvSpPr/>
          <p:nvPr userDrawn="1"/>
        </p:nvSpPr>
        <p:spPr>
          <a:xfrm>
            <a:off x="5381625" y="3384600"/>
            <a:ext cx="1428750" cy="1428750"/>
          </a:xfrm>
          <a:prstGeom prst="ellipse">
            <a:avLst/>
          </a:prstGeom>
          <a:blipFill dpi="0" rotWithShape="1">
            <a:blip r:embed="rId2" cstate="print"/>
            <a:srcRect/>
            <a:tile tx="0" ty="0" sx="50000" sy="5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 userDrawn="1"/>
        </p:nvSpPr>
        <p:spPr>
          <a:xfrm>
            <a:off x="5206799" y="3209776"/>
            <a:ext cx="1778397" cy="1778397"/>
          </a:xfrm>
          <a:prstGeom prst="ellipse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6047565" y="3151894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 userDrawn="1"/>
        </p:nvSpPr>
        <p:spPr>
          <a:xfrm>
            <a:off x="6047568" y="4939741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 userDrawn="1"/>
        </p:nvSpPr>
        <p:spPr>
          <a:xfrm>
            <a:off x="6797373" y="3560040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 userDrawn="1"/>
        </p:nvSpPr>
        <p:spPr>
          <a:xfrm>
            <a:off x="6795251" y="4537495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 userDrawn="1"/>
        </p:nvSpPr>
        <p:spPr>
          <a:xfrm>
            <a:off x="5296038" y="3560040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 userDrawn="1"/>
        </p:nvSpPr>
        <p:spPr>
          <a:xfrm>
            <a:off x="5293916" y="4537495"/>
            <a:ext cx="96863" cy="96863"/>
          </a:xfrm>
          <a:prstGeom prst="ellipse">
            <a:avLst/>
          </a:prstGeom>
          <a:solidFill>
            <a:srgbClr val="0092D7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 userDrawn="1"/>
        </p:nvSpPr>
        <p:spPr>
          <a:xfrm>
            <a:off x="4711326" y="2714300"/>
            <a:ext cx="2769347" cy="2769347"/>
          </a:xfrm>
          <a:prstGeom prst="ellipse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 userDrawn="1"/>
        </p:nvSpPr>
        <p:spPr>
          <a:xfrm>
            <a:off x="5773267" y="2412295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 userDrawn="1"/>
        </p:nvSpPr>
        <p:spPr>
          <a:xfrm>
            <a:off x="5773271" y="5125709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 userDrawn="1"/>
        </p:nvSpPr>
        <p:spPr>
          <a:xfrm>
            <a:off x="6899726" y="2989573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 userDrawn="1"/>
        </p:nvSpPr>
        <p:spPr>
          <a:xfrm>
            <a:off x="4652306" y="2983862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 userDrawn="1"/>
        </p:nvSpPr>
        <p:spPr>
          <a:xfrm>
            <a:off x="6899726" y="4539960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 userDrawn="1"/>
        </p:nvSpPr>
        <p:spPr>
          <a:xfrm>
            <a:off x="4652306" y="4534249"/>
            <a:ext cx="645458" cy="64545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Текст 13"/>
          <p:cNvSpPr>
            <a:spLocks noGrp="1"/>
          </p:cNvSpPr>
          <p:nvPr>
            <p:ph type="body" sz="quarter" idx="28" hasCustomPrompt="1"/>
          </p:nvPr>
        </p:nvSpPr>
        <p:spPr>
          <a:xfrm>
            <a:off x="3817458" y="5849235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1" name="Текст 13"/>
          <p:cNvSpPr>
            <a:spLocks noGrp="1"/>
          </p:cNvSpPr>
          <p:nvPr>
            <p:ph type="body" sz="quarter" idx="29" hasCustomPrompt="1"/>
          </p:nvPr>
        </p:nvSpPr>
        <p:spPr>
          <a:xfrm>
            <a:off x="3817458" y="1984900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2" name="Текст 13"/>
          <p:cNvSpPr>
            <a:spLocks noGrp="1"/>
          </p:cNvSpPr>
          <p:nvPr>
            <p:ph type="body" sz="quarter" idx="30" hasCustomPrompt="1"/>
          </p:nvPr>
        </p:nvSpPr>
        <p:spPr>
          <a:xfrm>
            <a:off x="7688358" y="4722537"/>
            <a:ext cx="433267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3" name="Текст 13"/>
          <p:cNvSpPr>
            <a:spLocks noGrp="1"/>
          </p:cNvSpPr>
          <p:nvPr>
            <p:ph type="body" sz="quarter" idx="31" hasCustomPrompt="1"/>
          </p:nvPr>
        </p:nvSpPr>
        <p:spPr>
          <a:xfrm>
            <a:off x="7688913" y="3151927"/>
            <a:ext cx="433267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4" name="Текст 13"/>
          <p:cNvSpPr>
            <a:spLocks noGrp="1"/>
          </p:cNvSpPr>
          <p:nvPr>
            <p:ph type="body" sz="quarter" idx="32" hasCustomPrompt="1"/>
          </p:nvPr>
        </p:nvSpPr>
        <p:spPr>
          <a:xfrm>
            <a:off x="195675" y="4706977"/>
            <a:ext cx="433267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5" name="Текст 13"/>
          <p:cNvSpPr>
            <a:spLocks noGrp="1"/>
          </p:cNvSpPr>
          <p:nvPr>
            <p:ph type="body" sz="quarter" idx="33" hasCustomPrompt="1"/>
          </p:nvPr>
        </p:nvSpPr>
        <p:spPr>
          <a:xfrm>
            <a:off x="196230" y="3136367"/>
            <a:ext cx="4332674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CB35DC67-73F5-4341-9C20-7A06048577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371475" y="2853507"/>
            <a:ext cx="2665412" cy="3006226"/>
            <a:chOff x="766763" y="3086599"/>
            <a:chExt cx="2665412" cy="3006226"/>
          </a:xfrm>
        </p:grpSpPr>
        <p:sp>
          <p:nvSpPr>
            <p:cNvPr id="6" name="Прямоугольник 5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 userDrawn="1"/>
          </p:nvSpPr>
          <p:spPr>
            <a:xfrm>
              <a:off x="766763" y="3263122"/>
              <a:ext cx="2665412" cy="28297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4763294" y="2885516"/>
            <a:ext cx="2665412" cy="3006226"/>
            <a:chOff x="766763" y="3086599"/>
            <a:chExt cx="2665412" cy="3006226"/>
          </a:xfrm>
        </p:grpSpPr>
        <p:sp>
          <p:nvSpPr>
            <p:cNvPr id="10" name="Прямоугольник 9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 userDrawn="1"/>
          </p:nvSpPr>
          <p:spPr>
            <a:xfrm>
              <a:off x="766763" y="3263122"/>
              <a:ext cx="2665412" cy="28297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 userDrawn="1"/>
        </p:nvGrpSpPr>
        <p:grpSpPr>
          <a:xfrm>
            <a:off x="9150558" y="2853507"/>
            <a:ext cx="2665412" cy="3006226"/>
            <a:chOff x="766763" y="3086599"/>
            <a:chExt cx="2665412" cy="3006226"/>
          </a:xfrm>
        </p:grpSpPr>
        <p:sp>
          <p:nvSpPr>
            <p:cNvPr id="14" name="Прямоугольник 13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766763" y="3263122"/>
              <a:ext cx="2665412" cy="28297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30200" sx="101000" sy="101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 rot="2698150">
              <a:off x="1205708" y="3086599"/>
              <a:ext cx="353138" cy="3530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Овал 16"/>
          <p:cNvSpPr/>
          <p:nvPr userDrawn="1"/>
        </p:nvSpPr>
        <p:spPr>
          <a:xfrm>
            <a:off x="928595" y="2242054"/>
            <a:ext cx="116788" cy="116788"/>
          </a:xfrm>
          <a:prstGeom prst="ellipse">
            <a:avLst/>
          </a:prstGeom>
          <a:noFill/>
          <a:ln w="28575">
            <a:solidFill>
              <a:srgbClr val="3B33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 userDrawn="1"/>
        </p:nvSpPr>
        <p:spPr>
          <a:xfrm>
            <a:off x="5320414" y="2256133"/>
            <a:ext cx="116788" cy="116788"/>
          </a:xfrm>
          <a:prstGeom prst="ellipse">
            <a:avLst/>
          </a:prstGeom>
          <a:noFill/>
          <a:ln w="28575">
            <a:solidFill>
              <a:srgbClr val="3B33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 userDrawn="1"/>
        </p:nvSpPr>
        <p:spPr>
          <a:xfrm>
            <a:off x="9707678" y="2241543"/>
            <a:ext cx="116788" cy="116788"/>
          </a:xfrm>
          <a:prstGeom prst="ellipse">
            <a:avLst/>
          </a:prstGeom>
          <a:noFill/>
          <a:ln w="28575">
            <a:solidFill>
              <a:srgbClr val="3B33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5513817" y="2299937"/>
            <a:ext cx="4104316" cy="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 userDrawn="1"/>
        </p:nvCxnSpPr>
        <p:spPr>
          <a:xfrm>
            <a:off x="1155700" y="2299937"/>
            <a:ext cx="4076700" cy="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610799" y="3907787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3" name="Текст 13"/>
          <p:cNvSpPr>
            <a:spLocks noGrp="1"/>
          </p:cNvSpPr>
          <p:nvPr>
            <p:ph type="body" sz="quarter" idx="17" hasCustomPrompt="1"/>
          </p:nvPr>
        </p:nvSpPr>
        <p:spPr>
          <a:xfrm>
            <a:off x="610799" y="4279262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2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4993482" y="393979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993482" y="431127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26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9374688" y="388022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13"/>
          <p:cNvSpPr>
            <a:spLocks noGrp="1"/>
          </p:cNvSpPr>
          <p:nvPr>
            <p:ph type="body" sz="quarter" idx="21" hasCustomPrompt="1"/>
          </p:nvPr>
        </p:nvSpPr>
        <p:spPr>
          <a:xfrm>
            <a:off x="9374688" y="425170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93513E96-0484-479E-A045-2615C8F211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2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25" hasCustomPrompt="1"/>
          </p:nvPr>
        </p:nvSpPr>
        <p:spPr>
          <a:xfrm>
            <a:off x="283438" y="2844929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26" hasCustomPrompt="1"/>
          </p:nvPr>
        </p:nvSpPr>
        <p:spPr>
          <a:xfrm>
            <a:off x="283438" y="2442691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1 Пункт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83206" y="2806017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13"/>
          <p:cNvSpPr>
            <a:spLocks noGrp="1"/>
          </p:cNvSpPr>
          <p:nvPr>
            <p:ph type="body" sz="quarter" idx="27" hasCustomPrompt="1"/>
          </p:nvPr>
        </p:nvSpPr>
        <p:spPr>
          <a:xfrm>
            <a:off x="283438" y="5289156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9" name="Текст 13"/>
          <p:cNvSpPr>
            <a:spLocks noGrp="1"/>
          </p:cNvSpPr>
          <p:nvPr>
            <p:ph type="body" sz="quarter" idx="28" hasCustomPrompt="1"/>
          </p:nvPr>
        </p:nvSpPr>
        <p:spPr>
          <a:xfrm>
            <a:off x="283438" y="4886918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3 Пункт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383206" y="5250244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3"/>
          <p:cNvSpPr>
            <a:spLocks noGrp="1"/>
          </p:cNvSpPr>
          <p:nvPr>
            <p:ph type="body" sz="quarter" idx="29" hasCustomPrompt="1"/>
          </p:nvPr>
        </p:nvSpPr>
        <p:spPr>
          <a:xfrm>
            <a:off x="283438" y="4061496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30" hasCustomPrompt="1"/>
          </p:nvPr>
        </p:nvSpPr>
        <p:spPr>
          <a:xfrm>
            <a:off x="283438" y="3659258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2 Пункт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83206" y="4022584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13"/>
          <p:cNvSpPr>
            <a:spLocks noGrp="1"/>
          </p:cNvSpPr>
          <p:nvPr>
            <p:ph type="body" sz="quarter" idx="31" hasCustomPrompt="1"/>
          </p:nvPr>
        </p:nvSpPr>
        <p:spPr>
          <a:xfrm>
            <a:off x="7263449" y="2844929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32" hasCustomPrompt="1"/>
          </p:nvPr>
        </p:nvSpPr>
        <p:spPr>
          <a:xfrm>
            <a:off x="7263449" y="2442691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4 Пункт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7363217" y="2806017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Текст 13"/>
          <p:cNvSpPr>
            <a:spLocks noGrp="1"/>
          </p:cNvSpPr>
          <p:nvPr>
            <p:ph type="body" sz="quarter" idx="33" hasCustomPrompt="1"/>
          </p:nvPr>
        </p:nvSpPr>
        <p:spPr>
          <a:xfrm>
            <a:off x="7263449" y="5289156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8" name="Текст 13"/>
          <p:cNvSpPr>
            <a:spLocks noGrp="1"/>
          </p:cNvSpPr>
          <p:nvPr>
            <p:ph type="body" sz="quarter" idx="34" hasCustomPrompt="1"/>
          </p:nvPr>
        </p:nvSpPr>
        <p:spPr>
          <a:xfrm>
            <a:off x="7263449" y="4886918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6 Пункт</a:t>
            </a: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7363217" y="5250244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3"/>
          <p:cNvSpPr>
            <a:spLocks noGrp="1"/>
          </p:cNvSpPr>
          <p:nvPr>
            <p:ph type="body" sz="quarter" idx="35" hasCustomPrompt="1"/>
          </p:nvPr>
        </p:nvSpPr>
        <p:spPr>
          <a:xfrm>
            <a:off x="7263449" y="4061496"/>
            <a:ext cx="4557076" cy="5022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21" name="Текст 13"/>
          <p:cNvSpPr>
            <a:spLocks noGrp="1"/>
          </p:cNvSpPr>
          <p:nvPr>
            <p:ph type="body" sz="quarter" idx="36" hasCustomPrompt="1"/>
          </p:nvPr>
        </p:nvSpPr>
        <p:spPr>
          <a:xfrm>
            <a:off x="7263449" y="3659258"/>
            <a:ext cx="4557076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5 Пункт</a:t>
            </a:r>
          </a:p>
        </p:txBody>
      </p:sp>
      <p:cxnSp>
        <p:nvCxnSpPr>
          <p:cNvPr id="22" name="Прямая соединительная линия 21"/>
          <p:cNvCxnSpPr/>
          <p:nvPr userDrawn="1"/>
        </p:nvCxnSpPr>
        <p:spPr>
          <a:xfrm>
            <a:off x="7363217" y="4022584"/>
            <a:ext cx="1756971" cy="0"/>
          </a:xfrm>
          <a:prstGeom prst="line">
            <a:avLst/>
          </a:prstGeom>
          <a:ln w="28575">
            <a:solidFill>
              <a:srgbClr val="0092D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8B58D0D3-5D8F-4F78-AC6E-69C68ECC65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2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blipFill dpi="0" rotWithShape="1">
            <a:blip r:embed="rId2" cstate="print">
              <a:alphaModFix amt="95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6199166" y="2866978"/>
            <a:ext cx="3636018" cy="9298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99166" y="3974163"/>
            <a:ext cx="3636018" cy="343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E441ABF9-27E1-4AA0-8FDF-4033E96B6D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16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83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146105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2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371475" y="1952730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 userDrawn="1"/>
        </p:nvSpPr>
        <p:spPr>
          <a:xfrm>
            <a:off x="516240" y="2097496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Текст 13"/>
          <p:cNvSpPr>
            <a:spLocks noGrp="1"/>
          </p:cNvSpPr>
          <p:nvPr>
            <p:ph type="body" sz="quarter" idx="25" hasCustomPrompt="1"/>
          </p:nvPr>
        </p:nvSpPr>
        <p:spPr>
          <a:xfrm>
            <a:off x="1014946" y="2148792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26" name="Текст 13"/>
          <p:cNvSpPr>
            <a:spLocks noGrp="1"/>
          </p:cNvSpPr>
          <p:nvPr>
            <p:ph type="body" sz="quarter" idx="26" hasCustomPrompt="1"/>
          </p:nvPr>
        </p:nvSpPr>
        <p:spPr>
          <a:xfrm>
            <a:off x="411220" y="2211164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371475" y="4397678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516240" y="4542444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Текст 13"/>
          <p:cNvSpPr>
            <a:spLocks noGrp="1"/>
          </p:cNvSpPr>
          <p:nvPr>
            <p:ph type="body" sz="quarter" idx="27" hasCustomPrompt="1"/>
          </p:nvPr>
        </p:nvSpPr>
        <p:spPr>
          <a:xfrm>
            <a:off x="1014946" y="4593740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30" name="Текст 13"/>
          <p:cNvSpPr>
            <a:spLocks noGrp="1"/>
          </p:cNvSpPr>
          <p:nvPr>
            <p:ph type="body" sz="quarter" idx="28" hasCustomPrompt="1"/>
          </p:nvPr>
        </p:nvSpPr>
        <p:spPr>
          <a:xfrm>
            <a:off x="411220" y="4656112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371475" y="3179668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516240" y="3324434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Текст 13"/>
          <p:cNvSpPr>
            <a:spLocks noGrp="1"/>
          </p:cNvSpPr>
          <p:nvPr>
            <p:ph type="body" sz="quarter" idx="29" hasCustomPrompt="1"/>
          </p:nvPr>
        </p:nvSpPr>
        <p:spPr>
          <a:xfrm>
            <a:off x="1014946" y="3375730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30" hasCustomPrompt="1"/>
          </p:nvPr>
        </p:nvSpPr>
        <p:spPr>
          <a:xfrm>
            <a:off x="411220" y="3438102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7354888" y="1952730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 userDrawn="1"/>
        </p:nvSpPr>
        <p:spPr>
          <a:xfrm>
            <a:off x="7499653" y="2097496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31" hasCustomPrompt="1"/>
          </p:nvPr>
        </p:nvSpPr>
        <p:spPr>
          <a:xfrm>
            <a:off x="7998359" y="2148792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38" name="Текст 13"/>
          <p:cNvSpPr>
            <a:spLocks noGrp="1"/>
          </p:cNvSpPr>
          <p:nvPr>
            <p:ph type="body" sz="quarter" idx="32" hasCustomPrompt="1"/>
          </p:nvPr>
        </p:nvSpPr>
        <p:spPr>
          <a:xfrm>
            <a:off x="7394633" y="2211164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9" name="Прямоугольник 38"/>
          <p:cNvSpPr/>
          <p:nvPr userDrawn="1"/>
        </p:nvSpPr>
        <p:spPr>
          <a:xfrm>
            <a:off x="7354888" y="4397678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7499653" y="4542444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33" hasCustomPrompt="1"/>
          </p:nvPr>
        </p:nvSpPr>
        <p:spPr>
          <a:xfrm>
            <a:off x="7998359" y="4593740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34" hasCustomPrompt="1"/>
          </p:nvPr>
        </p:nvSpPr>
        <p:spPr>
          <a:xfrm>
            <a:off x="7394633" y="4656112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3" name="Прямоугольник 42"/>
          <p:cNvSpPr/>
          <p:nvPr userDrawn="1"/>
        </p:nvSpPr>
        <p:spPr>
          <a:xfrm>
            <a:off x="7354888" y="3179668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 userDrawn="1"/>
        </p:nvSpPr>
        <p:spPr>
          <a:xfrm>
            <a:off x="7499653" y="3324434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Текст 13"/>
          <p:cNvSpPr>
            <a:spLocks noGrp="1"/>
          </p:cNvSpPr>
          <p:nvPr>
            <p:ph type="body" sz="quarter" idx="35" hasCustomPrompt="1"/>
          </p:nvPr>
        </p:nvSpPr>
        <p:spPr>
          <a:xfrm>
            <a:off x="7998359" y="3375730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46" name="Текст 13"/>
          <p:cNvSpPr>
            <a:spLocks noGrp="1"/>
          </p:cNvSpPr>
          <p:nvPr>
            <p:ph type="body" sz="quarter" idx="36" hasCustomPrompt="1"/>
          </p:nvPr>
        </p:nvSpPr>
        <p:spPr>
          <a:xfrm>
            <a:off x="7394633" y="3438102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0FCBCEB9-F83C-4457-AF2A-9508B699E8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77FFA473-A8E9-4897-99E2-A6480B4F84EA}"/>
              </a:ext>
            </a:extLst>
          </p:cNvPr>
          <p:cNvSpPr/>
          <p:nvPr userDrawn="1"/>
        </p:nvSpPr>
        <p:spPr>
          <a:xfrm>
            <a:off x="371475" y="5624512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0976B13A-3BE2-4502-86D2-45DC7B57C276}"/>
              </a:ext>
            </a:extLst>
          </p:cNvPr>
          <p:cNvSpPr/>
          <p:nvPr userDrawn="1"/>
        </p:nvSpPr>
        <p:spPr>
          <a:xfrm>
            <a:off x="516240" y="5769278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Текст 13">
            <a:extLst>
              <a:ext uri="{FF2B5EF4-FFF2-40B4-BE49-F238E27FC236}">
                <a16:creationId xmlns="" xmlns:a16="http://schemas.microsoft.com/office/drawing/2014/main" id="{F30774A9-6B04-45E0-AD8F-742E9157B87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4946" y="5820574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51" name="Текст 13">
            <a:extLst>
              <a:ext uri="{FF2B5EF4-FFF2-40B4-BE49-F238E27FC236}">
                <a16:creationId xmlns="" xmlns:a16="http://schemas.microsoft.com/office/drawing/2014/main" id="{6608197F-2D35-4D9F-956D-D739CDE80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11220" y="5882946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AA615CA4-1D0E-405C-99E5-B1E62B870C8A}"/>
              </a:ext>
            </a:extLst>
          </p:cNvPr>
          <p:cNvSpPr/>
          <p:nvPr userDrawn="1"/>
        </p:nvSpPr>
        <p:spPr>
          <a:xfrm>
            <a:off x="7354888" y="5624512"/>
            <a:ext cx="865187" cy="865187"/>
          </a:xfrm>
          <a:prstGeom prst="rect">
            <a:avLst/>
          </a:prstGeom>
          <a:solidFill>
            <a:srgbClr val="009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9A351AA2-39C5-4E96-B3D9-1BF27AD260C8}"/>
              </a:ext>
            </a:extLst>
          </p:cNvPr>
          <p:cNvSpPr/>
          <p:nvPr userDrawn="1"/>
        </p:nvSpPr>
        <p:spPr>
          <a:xfrm>
            <a:off x="7499653" y="5769278"/>
            <a:ext cx="4320872" cy="5756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Текст 13">
            <a:extLst>
              <a:ext uri="{FF2B5EF4-FFF2-40B4-BE49-F238E27FC236}">
                <a16:creationId xmlns="" xmlns:a16="http://schemas.microsoft.com/office/drawing/2014/main" id="{ACBF2F0D-6F43-4E3A-892B-BA3356E5608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98359" y="5820574"/>
            <a:ext cx="3745426" cy="4714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Короткое описание этого пункта можно писать на две строки</a:t>
            </a:r>
          </a:p>
        </p:txBody>
      </p:sp>
      <p:sp>
        <p:nvSpPr>
          <p:cNvPr id="55" name="Текст 13">
            <a:extLst>
              <a:ext uri="{FF2B5EF4-FFF2-40B4-BE49-F238E27FC236}">
                <a16:creationId xmlns="" xmlns:a16="http://schemas.microsoft.com/office/drawing/2014/main" id="{371EA652-2661-44E4-95C6-5A4F03F437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394633" y="5882946"/>
            <a:ext cx="825442" cy="348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8201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  <p15:guide id="16" orient="horz" pos="4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4079631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2269233"/>
            <a:ext cx="11449050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2761358"/>
            <a:ext cx="11449050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4" y="4953871"/>
            <a:ext cx="11449050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E2E5A10-EE25-4574-99F0-283996C80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>
              <a:alphaModFix amt="80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D1AE2900-2590-4CEE-82F2-3D88B842E0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642B0C8-574F-43D3-86F3-AAB2BF0403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61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>
              <a:alphaModFix amt="80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solidFill>
            <a:srgbClr val="0092D7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92D7"/>
              </a:solidFill>
            </a:endParaRP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252F6FCA-9B67-4C0E-95ED-1CF29621D2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38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solidFill>
            <a:srgbClr val="0092D7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92D7"/>
              </a:solidFill>
            </a:endParaRP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C858616-3C5D-4604-A467-65645EF1BA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8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gradFill>
            <a:gsLst>
              <a:gs pos="68000">
                <a:srgbClr val="ECF3FA"/>
              </a:gs>
              <a:gs pos="41000">
                <a:schemeClr val="bg1"/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10800000" scaled="0"/>
          </a:gra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92D7"/>
              </a:solidFill>
            </a:endParaRP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rgbClr val="3B338A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0A6EF88-4BB5-4A2B-96CB-1DDDCA598F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66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2669698"/>
            <a:ext cx="12191999" cy="1518603"/>
          </a:xfrm>
          <a:prstGeom prst="rect">
            <a:avLst/>
          </a:prstGeom>
          <a:gradFill>
            <a:gsLst>
              <a:gs pos="68000">
                <a:srgbClr val="5595B9"/>
              </a:gs>
              <a:gs pos="41000">
                <a:srgbClr val="5595B9"/>
              </a:gs>
              <a:gs pos="0">
                <a:srgbClr val="5595B9">
                  <a:alpha val="40000"/>
                </a:srgbClr>
              </a:gs>
              <a:gs pos="100000">
                <a:srgbClr val="5595B9">
                  <a:alpha val="40000"/>
                </a:srgbClr>
              </a:gs>
            </a:gsLst>
            <a:lin ang="10800000" scaled="0"/>
          </a:gra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92D7"/>
              </a:solidFill>
            </a:endParaRP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38D73F0-6420-4F3D-8A76-8B5E2C2556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5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099467" y="2995242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99466" y="3487367"/>
            <a:ext cx="7993063" cy="3830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B138F17-A495-455A-8F9E-3106D6C025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97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 sz="1800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 sz="1800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7 h 164"/>
                <a:gd name="T4" fmla="*/ 1612 w 1612"/>
                <a:gd name="T5" fmla="*/ 147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McK Title Elements"/>
          <p:cNvGrpSpPr>
            <a:grpSpLocks/>
          </p:cNvGrpSpPr>
          <p:nvPr/>
        </p:nvGrpSpPr>
        <p:grpSpPr bwMode="auto">
          <a:xfrm>
            <a:off x="3591984" y="2182814"/>
            <a:ext cx="6838949" cy="4619625"/>
            <a:chOff x="1663" y="1348"/>
            <a:chExt cx="3167" cy="2852"/>
          </a:xfrm>
        </p:grpSpPr>
        <p:sp>
          <p:nvSpPr>
            <p:cNvPr id="162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942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КОНФИДЕНЦИАЛЬНО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3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36"/>
              <a:ext cx="316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Тип документа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4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Дата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5" name="McK Disclaimer" hidden="1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>
              <a:off x="1663" y="3516"/>
              <a:ext cx="2303" cy="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>
                <a:defRPr/>
              </a:pPr>
              <a:endParaRPr lang="ru-RU" altLang="ru-RU" sz="90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ru-RU" alt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altLang="ru-RU" sz="900">
                  <a:solidFill>
                    <a:srgbClr val="000000"/>
                  </a:solidFill>
                </a:rPr>
              </a:br>
              <a:r>
                <a:rPr lang="ru-RU" alt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166" name="Working Draft Text" hidden="1"/>
          <p:cNvSpPr>
            <a:spLocks noChangeArrowheads="1"/>
          </p:cNvSpPr>
          <p:nvPr/>
        </p:nvSpPr>
        <p:spPr bwMode="auto">
          <a:xfrm>
            <a:off x="569384" y="349251"/>
            <a:ext cx="414654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SzPct val="120000"/>
              <a:defRPr/>
            </a:pPr>
            <a:r>
              <a:rPr lang="en-US" altLang="ru-RU" sz="15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67" name="Working Draft" hidden="1"/>
          <p:cNvSpPr txBox="1">
            <a:spLocks noChangeArrowheads="1"/>
          </p:cNvSpPr>
          <p:nvPr/>
        </p:nvSpPr>
        <p:spPr bwMode="auto">
          <a:xfrm>
            <a:off x="569384" y="593725"/>
            <a:ext cx="399904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200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68" name="Printed" hidden="1"/>
          <p:cNvSpPr txBox="1">
            <a:spLocks noChangeArrowheads="1"/>
          </p:cNvSpPr>
          <p:nvPr/>
        </p:nvSpPr>
        <p:spPr bwMode="auto">
          <a:xfrm>
            <a:off x="569385" y="815975"/>
            <a:ext cx="357264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200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91899" y="2756807"/>
            <a:ext cx="6840044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91899" y="3961897"/>
            <a:ext cx="6840044" cy="231435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9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11887200" y="36513"/>
            <a:ext cx="0" cy="138112"/>
          </a:xfrm>
        </p:spPr>
        <p:txBody>
          <a:bodyPr/>
          <a:lstStyle>
            <a:lvl1pPr algn="r" defTabSz="893763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042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8940800" y="1"/>
            <a:ext cx="3251199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71778" y="1955651"/>
            <a:ext cx="5443222" cy="906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9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71778" y="3120769"/>
            <a:ext cx="5443222" cy="25670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, например рыба-текст: Следует отметить, что понимание сути ресурсосберегающих технологий не оставляет шанса для вывода текущих активов. Лишь предприниматели в сети интернет формируют глобальную экономическую сеть.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sz="quarter" idx="13" hasCustomPrompt="1"/>
          </p:nvPr>
        </p:nvSpPr>
        <p:spPr>
          <a:xfrm>
            <a:off x="6007417" y="1955800"/>
            <a:ext cx="5813108" cy="3732213"/>
          </a:xfrm>
          <a:prstGeom prst="rect">
            <a:avLst/>
          </a:prstGeom>
          <a:solidFill>
            <a:schemeClr val="bg1"/>
          </a:solid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ru-RU" dirty="0"/>
              <a:t>Вставить сюда</a:t>
            </a:r>
          </a:p>
          <a:p>
            <a:r>
              <a:rPr lang="ru-RU" dirty="0"/>
              <a:t>рисун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230A6A7F-1095-4208-9CA2-CB38A09874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8" y="368301"/>
            <a:ext cx="2406890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98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" y="1"/>
            <a:ext cx="3251200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6556057" y="1955651"/>
            <a:ext cx="5264468" cy="906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6556057" y="3120769"/>
            <a:ext cx="5264468" cy="25670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, например рыба-текст: Следует отметить, что понимание сути ресурсосберегающих технологий не оставляет шанса для вывода текущих активов. Лишь предприниматели в сети интернет формируют глобальную экономическую сеть.</a:t>
            </a:r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4" hasCustomPrompt="1"/>
          </p:nvPr>
        </p:nvSpPr>
        <p:spPr>
          <a:xfrm>
            <a:off x="371475" y="1955800"/>
            <a:ext cx="5813108" cy="3732213"/>
          </a:xfrm>
          <a:prstGeom prst="rect">
            <a:avLst/>
          </a:prstGeom>
          <a:solidFill>
            <a:schemeClr val="bg1"/>
          </a:solidFill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ru-RU" dirty="0"/>
              <a:t>Вставить сюда</a:t>
            </a:r>
          </a:p>
          <a:p>
            <a:r>
              <a:rPr lang="ru-RU" dirty="0"/>
              <a:t>рисун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257F3773-8FEB-41E8-8F6D-1A42570A79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00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71778" y="1955651"/>
            <a:ext cx="5432535" cy="906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71778" y="3120769"/>
            <a:ext cx="5432535" cy="25670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, например рыба-текст: Следует отметить, что понимание сути ресурсосберегающих технологий не оставляет шанса для вывода текущих активов. Лишь предприниматели в сети интернет формируют глобальную экономическую сеть.</a:t>
            </a: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9912350" y="1"/>
            <a:ext cx="2279649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8759825" y="1955651"/>
            <a:ext cx="2655800" cy="37321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9010733" y="3368195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25" hasCustomPrompt="1"/>
          </p:nvPr>
        </p:nvSpPr>
        <p:spPr>
          <a:xfrm>
            <a:off x="9010733" y="3739670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5904169" y="1955651"/>
            <a:ext cx="2655800" cy="37321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13"/>
          <p:cNvSpPr>
            <a:spLocks noGrp="1"/>
          </p:cNvSpPr>
          <p:nvPr>
            <p:ph type="body" sz="quarter" idx="26" hasCustomPrompt="1"/>
          </p:nvPr>
        </p:nvSpPr>
        <p:spPr>
          <a:xfrm>
            <a:off x="6155077" y="3368195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27" hasCustomPrompt="1"/>
          </p:nvPr>
        </p:nvSpPr>
        <p:spPr>
          <a:xfrm>
            <a:off x="6155077" y="3739670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2F902515-EF76-4B2D-AA67-11A406A14C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8" y="368301"/>
            <a:ext cx="2406890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07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1"/>
            <a:ext cx="2279649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6133840" y="1955651"/>
            <a:ext cx="5686686" cy="9065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6133840" y="3120769"/>
            <a:ext cx="5686686" cy="25670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, например рыба-текст: Следует отметить, что понимание сути ресурсосберегающих технологий не оставляет шанса для вывода текущих активов. Лишь предприниматели в сети интернет формируют глобальную экономическую сеть.</a:t>
            </a: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3227131" y="1955651"/>
            <a:ext cx="2655800" cy="37321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3478039" y="3368195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25" hasCustomPrompt="1"/>
          </p:nvPr>
        </p:nvSpPr>
        <p:spPr>
          <a:xfrm>
            <a:off x="3478039" y="3739670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71475" y="1955651"/>
            <a:ext cx="2655800" cy="373218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13"/>
          <p:cNvSpPr>
            <a:spLocks noGrp="1"/>
          </p:cNvSpPr>
          <p:nvPr>
            <p:ph type="body" sz="quarter" idx="26" hasCustomPrompt="1"/>
          </p:nvPr>
        </p:nvSpPr>
        <p:spPr>
          <a:xfrm>
            <a:off x="622383" y="3368195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27" hasCustomPrompt="1"/>
          </p:nvPr>
        </p:nvSpPr>
        <p:spPr>
          <a:xfrm>
            <a:off x="622383" y="3739670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</p:spTree>
    <p:extLst>
      <p:ext uri="{BB962C8B-B14F-4D97-AF65-F5344CB8AC3E}">
        <p14:creationId xmlns:p14="http://schemas.microsoft.com/office/powerpoint/2010/main" val="369399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1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5" name="Рисунок 5"/>
          <p:cNvSpPr>
            <a:spLocks noGrp="1"/>
          </p:cNvSpPr>
          <p:nvPr>
            <p:ph type="pic" sz="quarter" idx="12"/>
          </p:nvPr>
        </p:nvSpPr>
        <p:spPr>
          <a:xfrm>
            <a:off x="768437" y="2543175"/>
            <a:ext cx="1771650" cy="1771650"/>
          </a:xfrm>
          <a:prstGeom prst="ellipse">
            <a:avLst/>
          </a:prstGeom>
          <a:solidFill>
            <a:schemeClr val="bg1"/>
          </a:solidFill>
          <a:effectLst>
            <a:outerShdw blurRad="76200" dir="4200000" sx="106000" sy="106000" algn="ctr" rotWithShape="0">
              <a:prstClr val="black">
                <a:alpha val="19000"/>
              </a:prst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/>
          </p:nvPr>
        </p:nvSpPr>
        <p:spPr>
          <a:xfrm>
            <a:off x="9653588" y="2543175"/>
            <a:ext cx="1771650" cy="1771650"/>
          </a:xfrm>
          <a:prstGeom prst="ellipse">
            <a:avLst/>
          </a:prstGeom>
          <a:solidFill>
            <a:schemeClr val="bg1"/>
          </a:solidFill>
          <a:effectLst>
            <a:outerShdw blurRad="76200" dir="4200000" sx="106000" sy="106000" algn="ctr" rotWithShape="0">
              <a:prstClr val="black">
                <a:alpha val="19000"/>
              </a:prst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7" name="Рисунок 5"/>
          <p:cNvSpPr>
            <a:spLocks noGrp="1"/>
          </p:cNvSpPr>
          <p:nvPr>
            <p:ph type="pic" sz="quarter" idx="14"/>
          </p:nvPr>
        </p:nvSpPr>
        <p:spPr>
          <a:xfrm>
            <a:off x="6691871" y="2543175"/>
            <a:ext cx="1771650" cy="1771650"/>
          </a:xfrm>
          <a:prstGeom prst="ellipse">
            <a:avLst/>
          </a:prstGeom>
          <a:solidFill>
            <a:schemeClr val="bg1"/>
          </a:solidFill>
          <a:effectLst>
            <a:outerShdw blurRad="76200" dir="4200000" sx="106000" sy="106000" algn="ctr" rotWithShape="0">
              <a:prstClr val="black">
                <a:alpha val="19000"/>
              </a:prst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5"/>
          </p:nvPr>
        </p:nvSpPr>
        <p:spPr>
          <a:xfrm>
            <a:off x="3730154" y="2543175"/>
            <a:ext cx="1771650" cy="1771650"/>
          </a:xfrm>
          <a:prstGeom prst="ellipse">
            <a:avLst/>
          </a:prstGeom>
          <a:solidFill>
            <a:schemeClr val="bg1"/>
          </a:solidFill>
          <a:effectLst>
            <a:outerShdw blurRad="76200" dir="4200000" sx="106000" sy="106000" algn="ctr" rotWithShape="0">
              <a:prstClr val="black">
                <a:alpha val="19000"/>
              </a:prst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9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529432" y="464191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Текст 13"/>
          <p:cNvSpPr>
            <a:spLocks noGrp="1"/>
          </p:cNvSpPr>
          <p:nvPr>
            <p:ph type="body" sz="quarter" idx="17" hasCustomPrompt="1"/>
          </p:nvPr>
        </p:nvSpPr>
        <p:spPr>
          <a:xfrm>
            <a:off x="529432" y="501339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3512185" y="464191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512185" y="501339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20" hasCustomPrompt="1"/>
          </p:nvPr>
        </p:nvSpPr>
        <p:spPr>
          <a:xfrm>
            <a:off x="9434037" y="459149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1" hasCustomPrompt="1"/>
          </p:nvPr>
        </p:nvSpPr>
        <p:spPr>
          <a:xfrm>
            <a:off x="9434037" y="496297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6473111" y="4641916"/>
            <a:ext cx="2205036" cy="3439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23" hasCustomPrompt="1"/>
          </p:nvPr>
        </p:nvSpPr>
        <p:spPr>
          <a:xfrm>
            <a:off x="6473111" y="5013391"/>
            <a:ext cx="2205036" cy="6810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3E576C88-5E2A-4BEC-A5C8-57F5DCC68F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5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29131" y="491679"/>
            <a:ext cx="7993063" cy="492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371475" y="2269232"/>
            <a:ext cx="11449050" cy="42204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FCA94512-A3BF-4CC8-AA4E-EBB27571D04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84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-1" y="1"/>
            <a:ext cx="7032625" cy="6858000"/>
          </a:xfrm>
          <a:prstGeom prst="rect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13"/>
          <p:cNvSpPr>
            <a:spLocks noGrp="1"/>
          </p:cNvSpPr>
          <p:nvPr>
            <p:ph type="body" sz="quarter" idx="18" hasCustomPrompt="1"/>
          </p:nvPr>
        </p:nvSpPr>
        <p:spPr>
          <a:xfrm>
            <a:off x="8022885" y="969958"/>
            <a:ext cx="3155021" cy="3003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22885" y="1348825"/>
            <a:ext cx="3155021" cy="4330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6" name="Овал 5"/>
          <p:cNvSpPr/>
          <p:nvPr userDrawn="1"/>
        </p:nvSpPr>
        <p:spPr>
          <a:xfrm>
            <a:off x="6421120" y="765175"/>
            <a:ext cx="1223010" cy="122301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7879" y="2364268"/>
            <a:ext cx="3929946" cy="12336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aseline="0">
                <a:solidFill>
                  <a:schemeClr val="bg1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 этого прекрасного слайда</a:t>
            </a:r>
          </a:p>
        </p:txBody>
      </p:sp>
      <p:sp>
        <p:nvSpPr>
          <p:cNvPr id="9" name="Овал 8"/>
          <p:cNvSpPr/>
          <p:nvPr userDrawn="1"/>
        </p:nvSpPr>
        <p:spPr>
          <a:xfrm>
            <a:off x="6421120" y="2908144"/>
            <a:ext cx="1223010" cy="122301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 userDrawn="1"/>
        </p:nvSpPr>
        <p:spPr>
          <a:xfrm>
            <a:off x="6421120" y="4869815"/>
            <a:ext cx="1223010" cy="122301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30200" sx="101000" sy="101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Текст 13"/>
          <p:cNvSpPr>
            <a:spLocks noGrp="1"/>
          </p:cNvSpPr>
          <p:nvPr>
            <p:ph type="body" sz="quarter" idx="21" hasCustomPrompt="1"/>
          </p:nvPr>
        </p:nvSpPr>
        <p:spPr>
          <a:xfrm>
            <a:off x="8022885" y="5436861"/>
            <a:ext cx="3155021" cy="4330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2" name="Текст 13"/>
          <p:cNvSpPr>
            <a:spLocks noGrp="1"/>
          </p:cNvSpPr>
          <p:nvPr>
            <p:ph type="body" sz="quarter" idx="22" hasCustomPrompt="1"/>
          </p:nvPr>
        </p:nvSpPr>
        <p:spPr>
          <a:xfrm>
            <a:off x="8028917" y="5054469"/>
            <a:ext cx="3155021" cy="3003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23" hasCustomPrompt="1"/>
          </p:nvPr>
        </p:nvSpPr>
        <p:spPr>
          <a:xfrm>
            <a:off x="8016853" y="3511062"/>
            <a:ext cx="3155021" cy="4330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tx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Описание или подзаголовок этого пункта можно писать на две строки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24" hasCustomPrompt="1"/>
          </p:nvPr>
        </p:nvSpPr>
        <p:spPr>
          <a:xfrm>
            <a:off x="8022885" y="3128670"/>
            <a:ext cx="3155021" cy="3003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3B338A"/>
                </a:solidFill>
                <a:latin typeface="Montserrat SemiBold" panose="00000700000000000000" pitchFamily="50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7879" y="3916567"/>
            <a:ext cx="3929947" cy="835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Montserrat" panose="00000500000000000000" pitchFamily="50" charset="-52"/>
              </a:defRPr>
            </a:lvl1pPr>
          </a:lstStyle>
          <a:p>
            <a:pPr lvl="0"/>
            <a:r>
              <a:rPr lang="ru-RU" dirty="0"/>
              <a:t>Подзаголовок от сюда и уходящий вдаль на нижние строч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C77EAE3A-FF7E-4294-883B-E0BB9CC84A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6" y="368301"/>
            <a:ext cx="2406894" cy="5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47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46">
          <p15:clr>
            <a:srgbClr val="FBAE40"/>
          </p15:clr>
        </p15:guide>
        <p15:guide id="5" pos="846">
          <p15:clr>
            <a:srgbClr val="FBAE40"/>
          </p15:clr>
        </p15:guide>
        <p15:guide id="6" pos="1436">
          <p15:clr>
            <a:srgbClr val="FBAE40"/>
          </p15:clr>
        </p15:guide>
        <p15:guide id="7" pos="2048">
          <p15:clr>
            <a:srgbClr val="FBAE40"/>
          </p15:clr>
        </p15:guide>
        <p15:guide id="8" pos="2638">
          <p15:clr>
            <a:srgbClr val="FBAE40"/>
          </p15:clr>
        </p15:guide>
        <p15:guide id="9" pos="3228">
          <p15:clr>
            <a:srgbClr val="FBAE40"/>
          </p15:clr>
        </p15:guide>
        <p15:guide id="10" pos="3840">
          <p15:clr>
            <a:srgbClr val="FBAE40"/>
          </p15:clr>
        </p15:guide>
        <p15:guide id="11" pos="6834">
          <p15:clr>
            <a:srgbClr val="FBAE40"/>
          </p15:clr>
        </p15:guide>
        <p15:guide id="12" pos="6244">
          <p15:clr>
            <a:srgbClr val="FBAE40"/>
          </p15:clr>
        </p15:guide>
        <p15:guide id="13" pos="5632">
          <p15:clr>
            <a:srgbClr val="FBAE40"/>
          </p15:clr>
        </p15:guide>
        <p15:guide id="14" pos="5042">
          <p15:clr>
            <a:srgbClr val="FBAE40"/>
          </p15:clr>
        </p15:guide>
        <p15:guide id="15" pos="443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111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8" r:id="rId8"/>
    <p:sldLayoutId id="2147483717" r:id="rId9"/>
    <p:sldLayoutId id="2147483738" r:id="rId10"/>
    <p:sldLayoutId id="2147483739" r:id="rId11"/>
    <p:sldLayoutId id="2147483719" r:id="rId12"/>
    <p:sldLayoutId id="2147483720" r:id="rId13"/>
    <p:sldLayoutId id="2147483721" r:id="rId14"/>
    <p:sldLayoutId id="2147483724" r:id="rId15"/>
    <p:sldLayoutId id="2147483725" r:id="rId16"/>
    <p:sldLayoutId id="2147483726" r:id="rId17"/>
    <p:sldLayoutId id="2147483728" r:id="rId18"/>
    <p:sldLayoutId id="2147483729" r:id="rId19"/>
    <p:sldLayoutId id="2147483730" r:id="rId20"/>
    <p:sldLayoutId id="2147483727" r:id="rId21"/>
    <p:sldLayoutId id="2147483731" r:id="rId22"/>
    <p:sldLayoutId id="2147483733" r:id="rId23"/>
    <p:sldLayoutId id="2147483732" r:id="rId24"/>
    <p:sldLayoutId id="2147483734" r:id="rId25"/>
    <p:sldLayoutId id="2147483736" r:id="rId26"/>
    <p:sldLayoutId id="2147483737" r:id="rId27"/>
    <p:sldLayoutId id="2147483735" r:id="rId28"/>
    <p:sldLayoutId id="2147483741" r:id="rId29"/>
  </p:sldLayoutIdLst>
  <mc:AlternateContent xmlns:mc="http://schemas.openxmlformats.org/markup-compatibility/2006" xmlns:p14="http://schemas.microsoft.com/office/powerpoint/2010/main">
    <mc:Choice Requires="p14">
      <p:transition spd="slow" p14:dur="5000">
        <p14:prism isContent="1"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5" Type="http://schemas.openxmlformats.org/officeDocument/2006/relationships/hyperlink" Target="mailto:baikal-dict2023@mail.ru" TargetMode="Externa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3.gif"/><Relationship Id="rId18" Type="http://schemas.openxmlformats.org/officeDocument/2006/relationships/image" Target="../media/image28.gif"/><Relationship Id="rId3" Type="http://schemas.openxmlformats.org/officeDocument/2006/relationships/image" Target="../media/image15.jpg"/><Relationship Id="rId7" Type="http://schemas.openxmlformats.org/officeDocument/2006/relationships/image" Target="../media/image18.png"/><Relationship Id="rId12" Type="http://schemas.openxmlformats.org/officeDocument/2006/relationships/image" Target="../media/image22.jpeg"/><Relationship Id="rId17" Type="http://schemas.openxmlformats.org/officeDocument/2006/relationships/image" Target="../media/image27.gif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26.gif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irkobl.ru/" TargetMode="External"/><Relationship Id="rId11" Type="http://schemas.microsoft.com/office/2007/relationships/hdphoto" Target="../media/hdphoto1.wdp"/><Relationship Id="rId5" Type="http://schemas.openxmlformats.org/officeDocument/2006/relationships/image" Target="../media/image17.jpeg"/><Relationship Id="rId15" Type="http://schemas.openxmlformats.org/officeDocument/2006/relationships/image" Target="../media/image25.gif"/><Relationship Id="rId10" Type="http://schemas.openxmlformats.org/officeDocument/2006/relationships/image" Target="../media/image21.png"/><Relationship Id="rId19" Type="http://schemas.openxmlformats.org/officeDocument/2006/relationships/image" Target="../media/image29.gif"/><Relationship Id="rId4" Type="http://schemas.openxmlformats.org/officeDocument/2006/relationships/image" Target="../media/image16.jpeg"/><Relationship Id="rId9" Type="http://schemas.openxmlformats.org/officeDocument/2006/relationships/image" Target="../media/image20.jpeg"/><Relationship Id="rId14" Type="http://schemas.openxmlformats.org/officeDocument/2006/relationships/image" Target="../media/image2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152900" y="5273040"/>
            <a:ext cx="1120140" cy="11201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09"/>
          <a:stretch/>
        </p:blipFill>
        <p:spPr>
          <a:xfrm>
            <a:off x="410966" y="231681"/>
            <a:ext cx="11781033" cy="638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89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82" y="227316"/>
            <a:ext cx="11168009" cy="628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21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946" y="236947"/>
            <a:ext cx="11270751" cy="6339798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091F202B-3168-2D43-BDBF-EB4E6BEF1E34}"/>
              </a:ext>
            </a:extLst>
          </p:cNvPr>
          <p:cNvSpPr/>
          <p:nvPr/>
        </p:nvSpPr>
        <p:spPr>
          <a:xfrm>
            <a:off x="170543" y="1954454"/>
            <a:ext cx="11264899" cy="4732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723900" algn="just"/>
            <a:r>
              <a:rPr lang="ru-RU" sz="2300" b="1" dirty="0" smtClean="0">
                <a:solidFill>
                  <a:srgbClr val="0070C0"/>
                </a:solidFill>
                <a:latin typeface="Montserrat" panose="020B0604020202020204" charset="-52"/>
              </a:rPr>
              <a:t>Организаторами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 Байкальского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экологического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диктанта-2024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выступают Иркутское областное отделение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Всероссийского общества охраны природы и Байкальский государственный университет. </a:t>
            </a:r>
            <a:endParaRPr lang="ru-RU" sz="2000" dirty="0" smtClean="0">
              <a:solidFill>
                <a:srgbClr val="0070C0"/>
              </a:solidFill>
              <a:latin typeface="Montserrat" panose="020B0604020202020204" charset="-52"/>
            </a:endParaRPr>
          </a:p>
          <a:p>
            <a:pPr indent="723900" algn="just"/>
            <a:endParaRPr lang="ru-RU" sz="1500" dirty="0" smtClean="0">
              <a:solidFill>
                <a:srgbClr val="0070C0"/>
              </a:solidFill>
              <a:latin typeface="Montserrat" panose="020B0604020202020204" charset="-52"/>
            </a:endParaRPr>
          </a:p>
          <a:p>
            <a:pPr indent="723900" algn="just"/>
            <a:r>
              <a:rPr lang="ru-RU" sz="2300" b="1" dirty="0" smtClean="0">
                <a:solidFill>
                  <a:srgbClr val="0070C0"/>
                </a:solidFill>
                <a:latin typeface="Montserrat" panose="020B0604020202020204" charset="-52"/>
              </a:rPr>
              <a:t>Поддержку </a:t>
            </a:r>
            <a:r>
              <a:rPr lang="ru-RU" sz="2300" b="1" dirty="0">
                <a:solidFill>
                  <a:srgbClr val="0070C0"/>
                </a:solidFill>
                <a:latin typeface="Montserrat" panose="020B0604020202020204" charset="-52"/>
              </a:rPr>
              <a:t>проекту оказывают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министерство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природных ресурсов и экологии Иркутской области,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министерство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образования Иркутской области,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министерство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культуры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Иркутской области, ФГБУ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«Заповедное Прибайкалье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»,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экологический фонд Иркутской области «Сохрани Байкал!» и региональное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отделение РДДМ «Движение первых» Иркутской области.</a:t>
            </a:r>
            <a:endParaRPr lang="ru-RU" sz="2300" dirty="0">
              <a:solidFill>
                <a:srgbClr val="0070C0"/>
              </a:solidFill>
              <a:latin typeface="Montserrat" panose="020B0604020202020204" charset="-52"/>
            </a:endParaRPr>
          </a:p>
          <a:p>
            <a:pPr indent="723900" algn="just"/>
            <a:endParaRPr lang="ru-RU" sz="1050" b="1" dirty="0" smtClean="0">
              <a:solidFill>
                <a:srgbClr val="0070C0"/>
              </a:solidFill>
              <a:latin typeface="Montserrat" panose="020B0604020202020204" charset="-52"/>
            </a:endParaRPr>
          </a:p>
          <a:p>
            <a:pPr indent="723900" algn="just"/>
            <a:r>
              <a:rPr lang="ru-RU" sz="2300" b="1" dirty="0" smtClean="0">
                <a:solidFill>
                  <a:srgbClr val="0070C0"/>
                </a:solidFill>
                <a:latin typeface="Montserrat" panose="020B0604020202020204" charset="-52"/>
              </a:rPr>
              <a:t>Генеральным </a:t>
            </a:r>
            <a:r>
              <a:rPr lang="ru-RU" sz="2300" b="1" dirty="0">
                <a:solidFill>
                  <a:srgbClr val="0070C0"/>
                </a:solidFill>
                <a:latin typeface="Montserrat" panose="020B0604020202020204" charset="-52"/>
              </a:rPr>
              <a:t>спонсором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 </a:t>
            </a:r>
            <a:r>
              <a:rPr lang="ru-RU" sz="2300" b="1" dirty="0">
                <a:solidFill>
                  <a:srgbClr val="0070C0"/>
                </a:solidFill>
                <a:latin typeface="Montserrat" panose="020B0604020202020204" charset="-52"/>
              </a:rPr>
              <a:t>проекта </a:t>
            </a:r>
            <a:r>
              <a:rPr lang="ru-RU" sz="2300" b="1" dirty="0" smtClean="0">
                <a:solidFill>
                  <a:srgbClr val="0070C0"/>
                </a:solidFill>
                <a:latin typeface="Montserrat" panose="020B0604020202020204" charset="-52"/>
              </a:rPr>
              <a:t>является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самый надежный партнер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регионального отделения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Всероссийского общества охраны природы - Иркутская </a:t>
            </a:r>
            <a:r>
              <a:rPr lang="ru-RU" sz="2300" dirty="0">
                <a:solidFill>
                  <a:srgbClr val="0070C0"/>
                </a:solidFill>
                <a:latin typeface="Montserrat" panose="020B0604020202020204" charset="-52"/>
              </a:rPr>
              <a:t>нефтяная </a:t>
            </a:r>
            <a:r>
              <a:rPr lang="ru-RU" sz="2300" dirty="0" smtClean="0">
                <a:solidFill>
                  <a:srgbClr val="0070C0"/>
                </a:solidFill>
                <a:latin typeface="Montserrat" panose="020B0604020202020204" charset="-52"/>
              </a:rPr>
              <a:t>компания.</a:t>
            </a:r>
            <a:endParaRPr lang="ru-RU" sz="2300" dirty="0">
              <a:solidFill>
                <a:srgbClr val="0070C0"/>
              </a:solidFill>
              <a:latin typeface="Montserrat" panose="020B0604020202020204" charset="-52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012" y="429482"/>
            <a:ext cx="1385887" cy="1372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92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54" y="231168"/>
            <a:ext cx="11339245" cy="637832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3" y="595929"/>
            <a:ext cx="1540146" cy="1524972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3972468" y="3262166"/>
            <a:ext cx="3568700" cy="109120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Регистрация площадок диктанта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до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30 апреля 2024 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01884" y="3262166"/>
            <a:ext cx="3568700" cy="109120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Разработка текста диктанта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до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15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апреля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778750" y="3262165"/>
            <a:ext cx="3568700" cy="109120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Регистрация участников диктанта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до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13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мая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84350" y="4545163"/>
            <a:ext cx="3568700" cy="90963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Проведение установочного </a:t>
            </a:r>
            <a:r>
              <a:rPr lang="ru-RU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вебинара</a:t>
            </a:r>
            <a:endParaRPr lang="ru-RU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5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апреля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994400" y="4545163"/>
            <a:ext cx="3568700" cy="93503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Проведение контрольного </a:t>
            </a:r>
            <a:r>
              <a:rPr lang="ru-RU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вебинара</a:t>
            </a:r>
            <a:endParaRPr lang="ru-RU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13 мая 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667000" y="5590134"/>
            <a:ext cx="6438900" cy="97790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Проверка Интернет-соединения с площадками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13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мая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 (15.00 (</a:t>
            </a:r>
            <a:r>
              <a:rPr lang="ru-RU" b="1" i="1" dirty="0" err="1" smtClean="0">
                <a:solidFill>
                  <a:srgbClr val="C00000"/>
                </a:solidFill>
                <a:latin typeface="Montserrat" panose="020B0604020202020204" charset="-52"/>
              </a:rPr>
              <a:t>ирк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), 10.00 (</a:t>
            </a:r>
            <a:r>
              <a:rPr lang="ru-RU" b="1" i="1" dirty="0" err="1" smtClean="0">
                <a:solidFill>
                  <a:srgbClr val="C00000"/>
                </a:solidFill>
                <a:latin typeface="Montserrat" panose="020B0604020202020204" charset="-52"/>
              </a:rPr>
              <a:t>мск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))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085442" y="2120901"/>
            <a:ext cx="5436916" cy="97790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Размещение информации о диктанте на информационных ресурсах </a:t>
            </a:r>
          </a:p>
          <a:p>
            <a:pPr algn="ctr"/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с 4 апреля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b="1" i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b="1" i="1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2521023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80" y="203557"/>
            <a:ext cx="11349519" cy="638410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3" y="595929"/>
            <a:ext cx="1540146" cy="15249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2220368"/>
            <a:ext cx="1152434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u="sng" dirty="0" smtClean="0">
                <a:solidFill>
                  <a:srgbClr val="C00000"/>
                </a:solidFill>
                <a:latin typeface="Montserrat" panose="020B0604020202020204" charset="-52"/>
              </a:rPr>
              <a:t>15 </a:t>
            </a:r>
            <a:r>
              <a:rPr lang="ru-RU" sz="3600" b="1" u="sng" dirty="0" smtClean="0">
                <a:solidFill>
                  <a:srgbClr val="C00000"/>
                </a:solidFill>
                <a:latin typeface="Montserrat" panose="020B0604020202020204" charset="-52"/>
              </a:rPr>
              <a:t>мая </a:t>
            </a:r>
            <a:r>
              <a:rPr lang="ru-RU" sz="3600" b="1" u="sng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sz="3600" b="1" u="sng" dirty="0" smtClean="0">
                <a:solidFill>
                  <a:srgbClr val="C00000"/>
                </a:solidFill>
                <a:latin typeface="Montserrat" panose="020B0604020202020204" charset="-52"/>
              </a:rPr>
              <a:t>года </a:t>
            </a:r>
          </a:p>
          <a:p>
            <a:pPr algn="ctr"/>
            <a:r>
              <a:rPr lang="ru-RU" sz="4000" b="1" dirty="0" smtClean="0">
                <a:solidFill>
                  <a:srgbClr val="C00000"/>
                </a:solidFill>
                <a:latin typeface="Montserrat" panose="020B0604020202020204" charset="-52"/>
              </a:rPr>
              <a:t>в 15.00 </a:t>
            </a: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(иркутского времени); </a:t>
            </a:r>
            <a:r>
              <a:rPr lang="ru-RU" sz="4000" b="1" dirty="0" smtClean="0">
                <a:solidFill>
                  <a:srgbClr val="C00000"/>
                </a:solidFill>
                <a:latin typeface="Montserrat" panose="020B0604020202020204" charset="-52"/>
              </a:rPr>
              <a:t>10.00</a:t>
            </a:r>
            <a:r>
              <a:rPr lang="ru-RU" sz="2800" b="1" dirty="0" smtClean="0">
                <a:latin typeface="Montserrat" panose="020B0604020202020204" charset="-52"/>
              </a:rPr>
              <a:t> </a:t>
            </a: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(московского времени)</a:t>
            </a:r>
            <a:endParaRPr lang="ru-RU" sz="24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996541" y="3570217"/>
            <a:ext cx="1531257" cy="1364342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Montserrat" panose="020B0604020202020204" charset="-52"/>
              </a:rPr>
              <a:t>60 минут</a:t>
            </a:r>
            <a:endParaRPr lang="ru-RU" sz="2000" b="1" dirty="0">
              <a:latin typeface="Montserrat" panose="020B0604020202020204" charset="-52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707571" y="5078939"/>
            <a:ext cx="2717800" cy="1364342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Montserrat" panose="020B0604020202020204" charset="-52"/>
              </a:rPr>
              <a:t>15 минут </a:t>
            </a:r>
            <a:r>
              <a:rPr lang="ru-RU" sz="2000" i="1" dirty="0" smtClean="0">
                <a:latin typeface="Montserrat" panose="020B0604020202020204" charset="-52"/>
              </a:rPr>
              <a:t>инструктаж</a:t>
            </a:r>
            <a:endParaRPr lang="ru-RU" sz="2000" i="1" dirty="0">
              <a:latin typeface="Montserrat" panose="020B0604020202020204" charset="-52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403270" y="5078939"/>
            <a:ext cx="2717800" cy="1364342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Montserrat" panose="020B0604020202020204" charset="-52"/>
              </a:rPr>
              <a:t>45 минут</a:t>
            </a:r>
          </a:p>
          <a:p>
            <a:pPr algn="ctr"/>
            <a:r>
              <a:rPr lang="ru-RU" sz="2000" i="1" dirty="0" smtClean="0">
                <a:latin typeface="Montserrat" panose="020B0604020202020204" charset="-52"/>
              </a:rPr>
              <a:t>диктант</a:t>
            </a:r>
            <a:endParaRPr lang="ru-RU" sz="2000" i="1" dirty="0">
              <a:latin typeface="Montserrat" panose="020B0604020202020204" charset="-52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8098968" y="5078939"/>
            <a:ext cx="2873831" cy="1364342"/>
          </a:xfrm>
          <a:prstGeom prst="ellipse">
            <a:avLst/>
          </a:prstGeom>
          <a:solidFill>
            <a:srgbClr val="CD330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Montserrat" panose="020B0604020202020204" charset="-52"/>
              </a:rPr>
              <a:t>Вручение сертификата</a:t>
            </a:r>
            <a:endParaRPr lang="ru-RU" sz="2000" i="1" dirty="0">
              <a:latin typeface="Montserrat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610969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45" y="242727"/>
            <a:ext cx="11365354" cy="639301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3" y="595929"/>
            <a:ext cx="1540146" cy="152497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2120901"/>
            <a:ext cx="115243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20-24 мая 2024 </a:t>
            </a:r>
            <a:r>
              <a:rPr lang="ru-RU" sz="36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года</a:t>
            </a:r>
          </a:p>
          <a:p>
            <a:pPr algn="ctr"/>
            <a:r>
              <a:rPr lang="ru-RU" sz="3600" b="1" dirty="0" smtClean="0">
                <a:solidFill>
                  <a:srgbClr val="C00000"/>
                </a:solidFill>
                <a:latin typeface="Montserrat" panose="020B0604020202020204" charset="-52"/>
              </a:rPr>
              <a:t>РАБОТА ЭКСПЕРТНОЙ КОМИССИИ</a:t>
            </a:r>
            <a:endParaRPr lang="ru-RU" sz="24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5143" y="3496417"/>
            <a:ext cx="113791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Оценка </a:t>
            </a:r>
            <a:r>
              <a:rPr lang="ru-RU" b="1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«5»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 – допускается 1 пунктуационная ошибка и ни одной орфографической.</a:t>
            </a:r>
          </a:p>
          <a:p>
            <a:pPr>
              <a:spcAft>
                <a:spcPts val="0"/>
              </a:spcAft>
            </a:pPr>
            <a:r>
              <a:rPr lang="ru-RU" b="1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Оценка </a:t>
            </a:r>
            <a:r>
              <a:rPr lang="ru-RU" b="1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«4»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 – можно допустить:</a:t>
            </a:r>
            <a:b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- до 4 пунктуационных ошибок включительно, не допустив ни одной орфографической;</a:t>
            </a:r>
            <a:b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- до 3 пунктуационных ошибок включительно и 1 орфографическую;</a:t>
            </a:r>
            <a:b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- до 2 пунктуационных и до 2 орфографических ошибок включительно. </a:t>
            </a:r>
          </a:p>
          <a:p>
            <a:pPr>
              <a:spcAft>
                <a:spcPts val="0"/>
              </a:spcAft>
            </a:pPr>
            <a:r>
              <a:rPr lang="ru-RU" b="1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Оценка </a:t>
            </a:r>
            <a:r>
              <a:rPr lang="ru-RU" b="1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«3» 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– можно допустить 8 пунктуационных и/или орфографических ошибок.</a:t>
            </a:r>
          </a:p>
          <a:p>
            <a:pPr>
              <a:spcAft>
                <a:spcPts val="0"/>
              </a:spcAft>
            </a:pPr>
            <a:r>
              <a:rPr lang="ru-RU" b="1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Оценка </a:t>
            </a:r>
            <a:r>
              <a:rPr lang="ru-RU" b="1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«2»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 – если ошибок </a:t>
            </a:r>
            <a:r>
              <a:rPr lang="ru-RU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больше.</a:t>
            </a:r>
          </a:p>
          <a:p>
            <a:pPr>
              <a:spcAft>
                <a:spcPts val="0"/>
              </a:spcAft>
            </a:pPr>
            <a:r>
              <a:rPr lang="ru-RU" dirty="0" smtClean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 Точность 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фактографических данных по </a:t>
            </a:r>
            <a:r>
              <a:rPr lang="ru-RU" dirty="0" err="1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байкаловедению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dirty="0">
                <a:solidFill>
                  <a:srgbClr val="333333"/>
                </a:solidFill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за каждый верный ответ – 1 балл, за каждый неверный ответ – 0 баллов)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algn="just">
              <a:spcAft>
                <a:spcPts val="1200"/>
              </a:spcAft>
            </a:pPr>
            <a:r>
              <a:rPr lang="ru-RU" dirty="0" smtClean="0">
                <a:solidFill>
                  <a:srgbClr val="333333"/>
                </a:solidFill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       По </a:t>
            </a:r>
            <a:r>
              <a:rPr lang="ru-RU" dirty="0">
                <a:solidFill>
                  <a:srgbClr val="333333"/>
                </a:solidFill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итогам проверки Диктанта победителем является участник, набравший не менее 10 баллов</a:t>
            </a:r>
            <a:r>
              <a:rPr lang="ru-RU" dirty="0">
                <a:latin typeface="Montserrat" panose="020B0604020202020204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dirty="0">
              <a:effectLst/>
              <a:latin typeface="Montserrat" panose="020B0604020202020204" charset="-52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8491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10" y="246580"/>
            <a:ext cx="11400890" cy="6413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3" y="595929"/>
            <a:ext cx="1540146" cy="1524972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65239" y="4661817"/>
            <a:ext cx="3597161" cy="1740471"/>
          </a:xfrm>
          <a:prstGeom prst="rect">
            <a:avLst/>
          </a:prstGeom>
          <a:ln>
            <a:solidFill>
              <a:srgbClr val="C00000"/>
            </a:solidFill>
            <a:prstDash val="dash"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>
                <a:solidFill>
                  <a:srgbClr val="C00000"/>
                </a:solidFill>
                <a:latin typeface="Montserrat" panose="020B0604020202020204" charset="-52"/>
              </a:rPr>
              <a:t>Дипломы, благодарности организаторам, победителям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327639" y="4867280"/>
            <a:ext cx="3444171" cy="1324914"/>
          </a:xfrm>
          <a:prstGeom prst="rect">
            <a:avLst/>
          </a:prstGeom>
          <a:ln>
            <a:solidFill>
              <a:srgbClr val="C00000"/>
            </a:solidFill>
            <a:prstDash val="dash"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Отчёт </a:t>
            </a:r>
            <a:endParaRPr lang="ru-RU" sz="2400" b="1" kern="1200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kern="1200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(</a:t>
            </a:r>
            <a:r>
              <a:rPr lang="ru-RU" b="1" kern="1200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кол-во участников, фото</a:t>
            </a:r>
            <a:r>
              <a:rPr lang="ru-RU" b="1" kern="1200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dirty="0" smtClean="0">
                <a:solidFill>
                  <a:srgbClr val="C00000"/>
                </a:solidFill>
                <a:latin typeface="Montserrat" panose="020B0604020202020204" charset="-52"/>
              </a:rPr>
              <a:t>16 </a:t>
            </a:r>
            <a:r>
              <a:rPr lang="ru-RU" sz="2400" b="1" dirty="0" smtClean="0">
                <a:solidFill>
                  <a:srgbClr val="C00000"/>
                </a:solidFill>
                <a:latin typeface="Montserrat" panose="020B0604020202020204" charset="-52"/>
              </a:rPr>
              <a:t>мая </a:t>
            </a:r>
            <a:r>
              <a:rPr lang="ru-RU" sz="2400" b="1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sz="2400" b="1" dirty="0" smtClean="0">
                <a:solidFill>
                  <a:srgbClr val="C00000"/>
                </a:solidFill>
                <a:latin typeface="Montserrat" panose="020B0604020202020204" charset="-52"/>
              </a:rPr>
              <a:t>года</a:t>
            </a:r>
            <a:endParaRPr lang="ru-RU" sz="2400" b="1" kern="1200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137049" y="4661817"/>
            <a:ext cx="3155142" cy="1740471"/>
          </a:xfrm>
          <a:prstGeom prst="rect">
            <a:avLst/>
          </a:prstGeom>
          <a:ln>
            <a:solidFill>
              <a:srgbClr val="C00000"/>
            </a:solidFill>
            <a:prstDash val="dash"/>
          </a:ln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Итоговый </a:t>
            </a:r>
            <a:r>
              <a:rPr lang="ru-RU" sz="2400" b="1" kern="1200" dirty="0" err="1" smtClean="0">
                <a:solidFill>
                  <a:srgbClr val="C00000"/>
                </a:solidFill>
                <a:latin typeface="Montserrat" panose="020B0604020202020204" charset="-52"/>
              </a:rPr>
              <a:t>вебинар</a:t>
            </a: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 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28 </a:t>
            </a: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мая </a:t>
            </a: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2024 </a:t>
            </a:r>
            <a:r>
              <a:rPr lang="ru-RU" sz="24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года </a:t>
            </a:r>
            <a:r>
              <a:rPr lang="ru-RU" sz="2000" b="1" kern="1200" dirty="0" smtClean="0">
                <a:solidFill>
                  <a:srgbClr val="C00000"/>
                </a:solidFill>
                <a:latin typeface="Montserrat" panose="020B0604020202020204" charset="-52"/>
              </a:rPr>
              <a:t>(15.00 (</a:t>
            </a:r>
            <a:r>
              <a:rPr lang="ru-RU" sz="2000" b="1" kern="1200" dirty="0" err="1" smtClean="0">
                <a:solidFill>
                  <a:srgbClr val="C00000"/>
                </a:solidFill>
                <a:latin typeface="Montserrat" panose="020B0604020202020204" charset="-52"/>
              </a:rPr>
              <a:t>ирк</a:t>
            </a:r>
            <a:r>
              <a:rPr lang="ru-RU" sz="2000" b="1" dirty="0" smtClean="0">
                <a:solidFill>
                  <a:srgbClr val="C00000"/>
                </a:solidFill>
                <a:latin typeface="Montserrat" panose="020B0604020202020204" charset="-52"/>
              </a:rPr>
              <a:t>), 10.00 (</a:t>
            </a:r>
            <a:r>
              <a:rPr lang="ru-RU" sz="2000" b="1" dirty="0" err="1" smtClean="0">
                <a:solidFill>
                  <a:srgbClr val="C00000"/>
                </a:solidFill>
                <a:latin typeface="Montserrat" panose="020B0604020202020204" charset="-52"/>
              </a:rPr>
              <a:t>мск</a:t>
            </a:r>
            <a:r>
              <a:rPr lang="ru-RU" sz="2000" b="1" dirty="0" smtClean="0">
                <a:solidFill>
                  <a:srgbClr val="C00000"/>
                </a:solidFill>
                <a:latin typeface="Montserrat" panose="020B0604020202020204" charset="-52"/>
              </a:rPr>
              <a:t>)</a:t>
            </a:r>
            <a:endParaRPr lang="ru-RU" sz="2000" b="1" kern="1200" dirty="0">
              <a:solidFill>
                <a:srgbClr val="C00000"/>
              </a:solidFill>
              <a:latin typeface="Montserrat" panose="020B0604020202020204" charset="-52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365239" y="2332724"/>
            <a:ext cx="10964664" cy="2117270"/>
            <a:chOff x="640336" y="1522219"/>
            <a:chExt cx="2595952" cy="46393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640336" y="1522219"/>
              <a:ext cx="2595952" cy="463935"/>
            </a:xfrm>
            <a:prstGeom prst="rect">
              <a:avLst/>
            </a:prstGeom>
            <a:noFill/>
            <a:ln>
              <a:solidFill>
                <a:srgbClr val="C00000"/>
              </a:solidFill>
              <a:prstDash val="dash"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рямоугольник 9"/>
            <p:cNvSpPr/>
            <p:nvPr/>
          </p:nvSpPr>
          <p:spPr>
            <a:xfrm>
              <a:off x="640336" y="1522219"/>
              <a:ext cx="2595952" cy="463935"/>
            </a:xfrm>
            <a:prstGeom prst="rect">
              <a:avLst/>
            </a:prstGeom>
            <a:ln>
              <a:solidFill>
                <a:srgbClr val="C00000"/>
              </a:solidFill>
              <a:prstDash val="dash"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 smtClean="0">
                  <a:solidFill>
                    <a:srgbClr val="C00000"/>
                  </a:solidFill>
                  <a:latin typeface="Montserrat" panose="020B0604020202020204" charset="-52"/>
                </a:rPr>
                <a:t>Отправление 2 </a:t>
              </a:r>
              <a:r>
                <a:rPr lang="ru-RU" sz="2400" b="1" dirty="0">
                  <a:solidFill>
                    <a:srgbClr val="C00000"/>
                  </a:solidFill>
                  <a:latin typeface="Montserrat" panose="020B0604020202020204" charset="-52"/>
                </a:rPr>
                <a:t>лучших </a:t>
              </a:r>
              <a:r>
                <a:rPr lang="ru-RU" sz="2400" b="1" dirty="0" smtClean="0">
                  <a:solidFill>
                    <a:srgbClr val="C00000"/>
                  </a:solidFill>
                  <a:latin typeface="Montserrat" panose="020B0604020202020204" charset="-52"/>
                </a:rPr>
                <a:t>работ от площадки 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 smtClean="0">
                  <a:solidFill>
                    <a:srgbClr val="0070C0"/>
                  </a:solidFill>
                  <a:latin typeface="Montserrat" panose="020B0604020202020204" charset="-52"/>
                </a:rPr>
                <a:t>в </a:t>
              </a:r>
              <a:r>
                <a:rPr lang="ru-RU" sz="2400" b="1" dirty="0">
                  <a:solidFill>
                    <a:srgbClr val="0070C0"/>
                  </a:solidFill>
                  <a:latin typeface="Montserrat" panose="020B0604020202020204" charset="-52"/>
                </a:rPr>
                <a:t>региональную экспертную </a:t>
              </a:r>
              <a:r>
                <a:rPr lang="ru-RU" sz="2400" b="1" dirty="0" smtClean="0">
                  <a:solidFill>
                    <a:srgbClr val="0070C0"/>
                  </a:solidFill>
                  <a:latin typeface="Montserrat" panose="020B0604020202020204" charset="-52"/>
                </a:rPr>
                <a:t>комиссию на адрес электронной почты </a:t>
              </a:r>
              <a:r>
                <a:rPr lang="en-US" sz="2400" b="1" dirty="0" err="1" smtClean="0">
                  <a:solidFill>
                    <a:srgbClr val="0070C0"/>
                  </a:solidFill>
                  <a:latin typeface="Montserrat" panose="020B0604020202020204" charset="-52"/>
                  <a:hlinkClick r:id="rId5"/>
                </a:rPr>
                <a:t>baikal-dict</a:t>
              </a:r>
              <a:r>
                <a:rPr lang="ru-RU" sz="2400" b="1" dirty="0" smtClean="0">
                  <a:solidFill>
                    <a:srgbClr val="0070C0"/>
                  </a:solidFill>
                  <a:latin typeface="Montserrat" panose="020B0604020202020204" charset="-52"/>
                  <a:hlinkClick r:id="rId5"/>
                </a:rPr>
                <a:t>2</a:t>
              </a:r>
              <a:r>
                <a:rPr lang="en-US" sz="2400" b="1" dirty="0" smtClean="0">
                  <a:solidFill>
                    <a:srgbClr val="0070C0"/>
                  </a:solidFill>
                  <a:latin typeface="Montserrat" panose="020B0604020202020204" charset="-52"/>
                  <a:hlinkClick r:id="rId5"/>
                </a:rPr>
                <a:t>02</a:t>
              </a:r>
              <a:r>
                <a:rPr lang="ru-RU" sz="2400" b="1" dirty="0" smtClean="0">
                  <a:solidFill>
                    <a:srgbClr val="0070C0"/>
                  </a:solidFill>
                  <a:latin typeface="Montserrat" panose="020B0604020202020204" charset="-52"/>
                  <a:hlinkClick r:id="rId5"/>
                </a:rPr>
                <a:t>4</a:t>
              </a:r>
              <a:r>
                <a:rPr lang="en-US" sz="2400" b="1" dirty="0" smtClean="0">
                  <a:solidFill>
                    <a:srgbClr val="0070C0"/>
                  </a:solidFill>
                  <a:latin typeface="Montserrat" panose="020B0604020202020204" charset="-52"/>
                  <a:hlinkClick r:id="rId5"/>
                </a:rPr>
                <a:t>@mail.ru</a:t>
              </a:r>
              <a:r>
                <a:rPr lang="en-US" sz="2400" b="1" dirty="0">
                  <a:solidFill>
                    <a:srgbClr val="0070C0"/>
                  </a:solidFill>
                  <a:latin typeface="Montserrat" panose="020B0604020202020204" charset="-52"/>
                </a:rPr>
                <a:t>  </a:t>
              </a:r>
              <a:endParaRPr lang="ru-RU" sz="2400" b="1" dirty="0" smtClean="0">
                <a:solidFill>
                  <a:srgbClr val="0070C0"/>
                </a:solidFill>
                <a:latin typeface="Montserrat" panose="020B0604020202020204" charset="-52"/>
              </a:endParaRP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b="1" dirty="0" smtClean="0">
                  <a:solidFill>
                    <a:srgbClr val="C00000"/>
                  </a:solidFill>
                  <a:latin typeface="Montserrat" panose="020B0604020202020204" charset="-52"/>
                </a:rPr>
                <a:t>16 </a:t>
              </a:r>
              <a:r>
                <a:rPr lang="ru-RU" sz="3200" b="1" dirty="0">
                  <a:solidFill>
                    <a:srgbClr val="C00000"/>
                  </a:solidFill>
                  <a:latin typeface="Montserrat" panose="020B0604020202020204" charset="-52"/>
                </a:rPr>
                <a:t>мая </a:t>
              </a:r>
              <a:r>
                <a:rPr lang="ru-RU" sz="3200" b="1" dirty="0" smtClean="0">
                  <a:solidFill>
                    <a:srgbClr val="C00000"/>
                  </a:solidFill>
                  <a:latin typeface="Montserrat" panose="020B0604020202020204" charset="-52"/>
                </a:rPr>
                <a:t>2024 </a:t>
              </a:r>
              <a:r>
                <a:rPr lang="ru-RU" sz="3200" b="1" dirty="0">
                  <a:solidFill>
                    <a:srgbClr val="C00000"/>
                  </a:solidFill>
                  <a:latin typeface="Montserrat" panose="020B0604020202020204" charset="-52"/>
                </a:rPr>
                <a:t>года 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Montserrat" panose="020B0604020202020204" charset="-52"/>
                </a:rPr>
                <a:t>до 15:00 (иркутское время) 10:00 (московское время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7627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29" y="248506"/>
            <a:ext cx="11328970" cy="637254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13" y="595929"/>
            <a:ext cx="1540146" cy="152497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56273" y="2468324"/>
            <a:ext cx="9216571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Байкальскийдиктант2024</a:t>
            </a:r>
            <a:endParaRPr lang="en-US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12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ВООП</a:t>
            </a:r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irk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       </a:t>
            </a:r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err="1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байкальскийуниверситет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12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образование38                   </a:t>
            </a:r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минприроды38</a:t>
            </a: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 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минкультуры38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12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err="1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Заповедноеприбайкалье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12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СохраниБайкал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    </a:t>
            </a:r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ДвижениеПервых38</a:t>
            </a:r>
            <a:endParaRPr lang="ru-RU" sz="28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12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БайкалЭКОпоколение</a:t>
            </a: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 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       </a:t>
            </a:r>
            <a:r>
              <a:rPr lang="en-US" sz="28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#</a:t>
            </a:r>
            <a:r>
              <a:rPr lang="ru-RU" sz="2800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cs typeface="Aharoni" pitchFamily="2" charset="-79"/>
              </a:rPr>
              <a:t>БайкалЮНЕСКО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  <a:p>
            <a:pPr algn="ctr"/>
            <a:endParaRPr lang="ru-RU" sz="28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  <a:cs typeface="Aharoni" pitchFamily="2" charset="-79"/>
            </a:endParaRPr>
          </a:p>
        </p:txBody>
      </p:sp>
      <p:pic>
        <p:nvPicPr>
          <p:cNvPr id="4100" name="Picture 4" descr="Telegram — Википедия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3675" y="4748403"/>
            <a:ext cx="1421524" cy="120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08568" y="2418381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238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86" y="242727"/>
            <a:ext cx="11301913" cy="635732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34558" y="3599702"/>
            <a:ext cx="26157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s://irkobl.ru/sites/minobr/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801" y="1950182"/>
            <a:ext cx="1597301" cy="159730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978737" y="3646618"/>
            <a:ext cx="259863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s://irkobl.ru/sites/ecology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/ 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0395" y="2030208"/>
            <a:ext cx="1415323" cy="141532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6379598" y="3629973"/>
            <a:ext cx="240322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hlinkClick r:id="rId6"/>
              </a:rPr>
              <a:t>https://irkobl.ru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  <a:hlinkClick r:id="rId6"/>
              </a:rPr>
              <a:t>/</a:t>
            </a:r>
            <a:endParaRPr lang="ru-RU" sz="2000" b="1" dirty="0" smtClean="0">
              <a:solidFill>
                <a:schemeClr val="accent5">
                  <a:lumMod val="75000"/>
                </a:schemeClr>
              </a:solidFill>
              <a:latin typeface="Montserrat" panose="020B0604020202020204" charset="-52"/>
            </a:endParaRPr>
          </a:p>
          <a:p>
            <a:pPr algn="ctr"/>
            <a:r>
              <a:rPr lang="ru-RU" sz="2000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sites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/</a:t>
            </a:r>
            <a:r>
              <a:rPr lang="ru-RU" sz="2000" b="1" dirty="0" err="1" smtClean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culture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/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59458" y="5928439"/>
            <a:ext cx="25880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://bgu.ru/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86" y="3051826"/>
            <a:ext cx="1914865" cy="278082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68464" y="2348722"/>
            <a:ext cx="3230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://voopirk.ru/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EAECEB"/>
              </a:clrFrom>
              <a:clrTo>
                <a:srgbClr val="EAEC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44" b="31640"/>
          <a:stretch/>
        </p:blipFill>
        <p:spPr>
          <a:xfrm>
            <a:off x="783189" y="418893"/>
            <a:ext cx="2030582" cy="185144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4556499" y="5959217"/>
            <a:ext cx="26420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s://baikal-1.ru/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144" y="4165578"/>
            <a:ext cx="2878781" cy="191918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9950" y="1778289"/>
            <a:ext cx="1751597" cy="2021703"/>
          </a:xfrm>
          <a:prstGeom prst="rect">
            <a:avLst/>
          </a:prstGeom>
        </p:spPr>
      </p:pic>
      <p:pic>
        <p:nvPicPr>
          <p:cNvPr id="17" name="Рисунок 16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6309" y="4429475"/>
            <a:ext cx="2310619" cy="1248524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Прямоугольник 17"/>
          <p:cNvSpPr/>
          <p:nvPr/>
        </p:nvSpPr>
        <p:spPr>
          <a:xfrm>
            <a:off x="7817709" y="5904811"/>
            <a:ext cx="30652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Montserrat" panose="020B0604020202020204" charset="-52"/>
              </a:rPr>
              <a:t>https://fondbaikal.ru/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750" y="1643924"/>
            <a:ext cx="747133" cy="74713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431" y="5125171"/>
            <a:ext cx="785127" cy="78512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565" y="2921887"/>
            <a:ext cx="721381" cy="721381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113" y="2952801"/>
            <a:ext cx="690467" cy="690467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6752" y="2952855"/>
            <a:ext cx="690588" cy="690588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8056" y="5070468"/>
            <a:ext cx="813621" cy="813621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262" y="5212084"/>
            <a:ext cx="747133" cy="747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38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3</TotalTime>
  <Words>297</Words>
  <Application>Microsoft Office PowerPoint</Application>
  <PresentationFormat>Широкоэкранный</PresentationFormat>
  <Paragraphs>73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Calibri</vt:lpstr>
      <vt:lpstr>Times New Roman</vt:lpstr>
      <vt:lpstr>Montserrat SemiBold</vt:lpstr>
      <vt:lpstr>Montserrat</vt:lpstr>
      <vt:lpstr>Calibri Light</vt:lpstr>
      <vt:lpstr>Aharoni</vt:lpstr>
      <vt:lpstr>Arial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ppdesig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</dc:creator>
  <cp:lastModifiedBy>Пользователь</cp:lastModifiedBy>
  <cp:revision>333</cp:revision>
  <cp:lastPrinted>2021-06-24T09:41:22Z</cp:lastPrinted>
  <dcterms:created xsi:type="dcterms:W3CDTF">2020-05-19T10:01:33Z</dcterms:created>
  <dcterms:modified xsi:type="dcterms:W3CDTF">2024-04-18T15:06:49Z</dcterms:modified>
</cp:coreProperties>
</file>